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6.xml" ContentType="application/vnd.openxmlformats-officedocument.presentationml.tags+xml"/>
  <Override PartName="/ppt/notesSlides/notesSlide1.xml" ContentType="application/vnd.openxmlformats-officedocument.presentationml.notesSlide+xml"/>
  <Override PartName="/ppt/tags/tag67.xml" ContentType="application/vnd.openxmlformats-officedocument.presentationml.tags+xml"/>
  <Override PartName="/ppt/notesSlides/notesSlide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4.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5.xml" ContentType="application/vnd.openxmlformats-officedocument.presentationml.notesSlide+xml"/>
  <Override PartName="/ppt/tags/tag76.xml" ContentType="application/vnd.openxmlformats-officedocument.presentationml.tags+xml"/>
  <Override PartName="/ppt/notesSlides/notesSlide6.xml" ContentType="application/vnd.openxmlformats-officedocument.presentationml.notesSlide+xml"/>
  <Override PartName="/ppt/tags/tag77.xml" ContentType="application/vnd.openxmlformats-officedocument.presentationml.tags+xml"/>
  <Override PartName="/ppt/notesSlides/notesSlide7.xml" ContentType="application/vnd.openxmlformats-officedocument.presentationml.notesSlide+xml"/>
  <Override PartName="/ppt/tags/tag78.xml" ContentType="application/vnd.openxmlformats-officedocument.presentationml.tags+xml"/>
  <Override PartName="/ppt/notesSlides/notesSlide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12.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3"/>
  </p:sldMasterIdLst>
  <p:notesMasterIdLst>
    <p:notesMasterId r:id="rId17"/>
  </p:notesMasterIdLst>
  <p:handoutMasterIdLst>
    <p:handoutMasterId r:id="rId18"/>
  </p:handoutMasterIdLst>
  <p:sldIdLst>
    <p:sldId id="2147375271" r:id="rId4"/>
    <p:sldId id="4210" r:id="rId5"/>
    <p:sldId id="2147375270" r:id="rId6"/>
    <p:sldId id="2147375848" r:id="rId7"/>
    <p:sldId id="2147375849" r:id="rId8"/>
    <p:sldId id="2147375842" r:id="rId9"/>
    <p:sldId id="2147375843" r:id="rId10"/>
    <p:sldId id="2147375844" r:id="rId11"/>
    <p:sldId id="2147375845" r:id="rId12"/>
    <p:sldId id="2147375846" r:id="rId13"/>
    <p:sldId id="2147375847" r:id="rId14"/>
    <p:sldId id="1040" r:id="rId15"/>
    <p:sldId id="4209"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ference slides" id="{DB952CA2-F37E-4B72-9E03-5C01D6602214}">
          <p14:sldIdLst>
            <p14:sldId id="2147375271"/>
            <p14:sldId id="4210"/>
          </p14:sldIdLst>
        </p14:section>
        <p14:section name="Summary/1-pager" id="{0D00BCA0-2CBF-4743-B406-7AD2D6119FED}">
          <p14:sldIdLst>
            <p14:sldId id="2147375270"/>
          </p14:sldIdLst>
        </p14:section>
        <p14:section name="Highlight Reference" id="{5B9143C2-DC2D-4997-8FBC-9296D9BEB76F}">
          <p14:sldIdLst>
            <p14:sldId id="2147375848"/>
            <p14:sldId id="2147375849"/>
            <p14:sldId id="2147375842"/>
            <p14:sldId id="2147375843"/>
            <p14:sldId id="2147375844"/>
            <p14:sldId id="2147375845"/>
            <p14:sldId id="2147375846"/>
            <p14:sldId id="2147375847"/>
          </p14:sldIdLst>
        </p14:section>
        <p14:section name="Disclaimer" id="{C54510C2-4863-4A6A-825E-537E19B105CC}">
          <p14:sldIdLst>
            <p14:sldId id="1040"/>
            <p14:sldId id="4209"/>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79C95A-B2B0-CDF0-DA56-67EB8A924EC8}" name="Oltmann, Mareike (DI MC MTS DG VAL)" initials="OM(MMDV" userId="S::mareike.oltmann@siemens.com::e9d180a7-92fa-4729-bbe0-3cd6fe0b20a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CDD7"/>
    <a:srgbClr val="F3F3F0"/>
    <a:srgbClr val="AFABA8"/>
    <a:srgbClr val="C4C1BA"/>
    <a:srgbClr val="BEB9B3"/>
    <a:srgbClr val="F2F2F2"/>
    <a:srgbClr val="FF9900"/>
    <a:srgbClr val="65CE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87B9C6-5BCA-4A03-9F9C-31F372B9BB76}" v="29" dt="2023-09-05T12:44:35.782"/>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660" autoAdjust="0"/>
  </p:normalViewPr>
  <p:slideViewPr>
    <p:cSldViewPr snapToGrid="0">
      <p:cViewPr varScale="1">
        <p:scale>
          <a:sx n="44" d="100"/>
          <a:sy n="44" d="100"/>
        </p:scale>
        <p:origin x="1428" y="48"/>
      </p:cViewPr>
      <p:guideLst>
        <p:guide pos="3840"/>
        <p:guide orient="horz" pos="2160"/>
      </p:guideLst>
    </p:cSldViewPr>
  </p:slideViewPr>
  <p:notesTextViewPr>
    <p:cViewPr>
      <p:scale>
        <a:sx n="1" d="1"/>
        <a:sy n="1" d="1"/>
      </p:scale>
      <p:origin x="0" y="-272"/>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ueger, Daniel (DI MC MTS DG VAL)" userId="63173366-236a-41c0-8712-ba5c6ac51841" providerId="ADAL" clId="{B194E14E-C251-4BC2-8C1A-721BDEF60A4B}"/>
    <pc:docChg chg="modSld">
      <pc:chgData name="Krueger, Daniel (DI MC MTS DG VAL)" userId="63173366-236a-41c0-8712-ba5c6ac51841" providerId="ADAL" clId="{B194E14E-C251-4BC2-8C1A-721BDEF60A4B}" dt="2023-07-05T06:06:46.578" v="34" actId="20577"/>
      <pc:docMkLst>
        <pc:docMk/>
      </pc:docMkLst>
      <pc:sldChg chg="modSp mod">
        <pc:chgData name="Krueger, Daniel (DI MC MTS DG VAL)" userId="63173366-236a-41c0-8712-ba5c6ac51841" providerId="ADAL" clId="{B194E14E-C251-4BC2-8C1A-721BDEF60A4B}" dt="2023-07-05T06:06:46.578" v="34" actId="20577"/>
        <pc:sldMkLst>
          <pc:docMk/>
          <pc:sldMk cId="1494394373" sldId="2147375846"/>
        </pc:sldMkLst>
        <pc:spChg chg="mod">
          <ac:chgData name="Krueger, Daniel (DI MC MTS DG VAL)" userId="63173366-236a-41c0-8712-ba5c6ac51841" providerId="ADAL" clId="{B194E14E-C251-4BC2-8C1A-721BDEF60A4B}" dt="2023-07-05T06:05:38.071" v="18" actId="20577"/>
          <ac:spMkLst>
            <pc:docMk/>
            <pc:sldMk cId="1494394373" sldId="2147375846"/>
            <ac:spMk id="97" creationId="{637DF7FE-2125-B3E8-0895-635613BBD570}"/>
          </ac:spMkLst>
        </pc:spChg>
        <pc:spChg chg="mod">
          <ac:chgData name="Krueger, Daniel (DI MC MTS DG VAL)" userId="63173366-236a-41c0-8712-ba5c6ac51841" providerId="ADAL" clId="{B194E14E-C251-4BC2-8C1A-721BDEF60A4B}" dt="2023-07-05T06:06:46.578" v="34" actId="20577"/>
          <ac:spMkLst>
            <pc:docMk/>
            <pc:sldMk cId="1494394373" sldId="2147375846"/>
            <ac:spMk id="98" creationId="{74F856BD-4362-5BEB-229B-53A0BAAF390D}"/>
          </ac:spMkLst>
        </pc:spChg>
      </pc:sldChg>
    </pc:docChg>
  </pc:docChgLst>
  <pc:docChgLst>
    <pc:chgData name="Strahlberger, Michael (DI MC MTS DG VAL)" userId="b3a28a79-7459-47b6-8a31-63616f2b9204" providerId="ADAL" clId="{B675CCA7-2F7C-41EF-ADDC-B00CCE6D539F}"/>
    <pc:docChg chg="modSld">
      <pc:chgData name="Strahlberger, Michael (DI MC MTS DG VAL)" userId="b3a28a79-7459-47b6-8a31-63616f2b9204" providerId="ADAL" clId="{B675CCA7-2F7C-41EF-ADDC-B00CCE6D539F}" dt="2023-07-05T06:55:29.532" v="76" actId="20577"/>
      <pc:docMkLst>
        <pc:docMk/>
      </pc:docMkLst>
      <pc:sldChg chg="modSp mod">
        <pc:chgData name="Strahlberger, Michael (DI MC MTS DG VAL)" userId="b3a28a79-7459-47b6-8a31-63616f2b9204" providerId="ADAL" clId="{B675CCA7-2F7C-41EF-ADDC-B00CCE6D539F}" dt="2023-07-05T06:54:32.317" v="57" actId="6549"/>
        <pc:sldMkLst>
          <pc:docMk/>
          <pc:sldMk cId="361074184" sldId="2147375270"/>
        </pc:sldMkLst>
        <pc:graphicFrameChg chg="modGraphic">
          <ac:chgData name="Strahlberger, Michael (DI MC MTS DG VAL)" userId="b3a28a79-7459-47b6-8a31-63616f2b9204" providerId="ADAL" clId="{B675CCA7-2F7C-41EF-ADDC-B00CCE6D539F}" dt="2023-07-05T06:54:32.317" v="57" actId="6549"/>
          <ac:graphicFrameMkLst>
            <pc:docMk/>
            <pc:sldMk cId="361074184" sldId="2147375270"/>
            <ac:graphicFrameMk id="10" creationId="{F02B6DB2-0D57-4592-BC60-FCF13DF4243F}"/>
          </ac:graphicFrameMkLst>
        </pc:graphicFrameChg>
      </pc:sldChg>
      <pc:sldChg chg="modSp mod">
        <pc:chgData name="Strahlberger, Michael (DI MC MTS DG VAL)" userId="b3a28a79-7459-47b6-8a31-63616f2b9204" providerId="ADAL" clId="{B675CCA7-2F7C-41EF-ADDC-B00CCE6D539F}" dt="2023-07-05T06:55:29.532" v="76" actId="20577"/>
        <pc:sldMkLst>
          <pc:docMk/>
          <pc:sldMk cId="1494394373" sldId="2147375846"/>
        </pc:sldMkLst>
        <pc:spChg chg="mod">
          <ac:chgData name="Strahlberger, Michael (DI MC MTS DG VAL)" userId="b3a28a79-7459-47b6-8a31-63616f2b9204" providerId="ADAL" clId="{B675CCA7-2F7C-41EF-ADDC-B00CCE6D539F}" dt="2023-07-05T06:55:29.532" v="76" actId="20577"/>
          <ac:spMkLst>
            <pc:docMk/>
            <pc:sldMk cId="1494394373" sldId="2147375846"/>
            <ac:spMk id="147" creationId="{83996EAC-2F8D-49F8-885A-4C032CCF4B59}"/>
          </ac:spMkLst>
        </pc:spChg>
      </pc:sldChg>
    </pc:docChg>
  </pc:docChgLst>
  <pc:docChgLst>
    <pc:chgData name="Krueger, Daniel (DI MC MTS DG VAL)" userId="S::krueger.daniel@siemens.com::63173366-236a-41c0-8712-ba5c6ac51841" providerId="AD" clId="Web-{C9DDC100-7EF8-0CED-939C-4D0BFF1EC038}"/>
    <pc:docChg chg="modSld">
      <pc:chgData name="Krueger, Daniel (DI MC MTS DG VAL)" userId="S::krueger.daniel@siemens.com::63173366-236a-41c0-8712-ba5c6ac51841" providerId="AD" clId="Web-{C9DDC100-7EF8-0CED-939C-4D0BFF1EC038}" dt="2023-07-05T06:03:56.923" v="141" actId="20577"/>
      <pc:docMkLst>
        <pc:docMk/>
      </pc:docMkLst>
      <pc:sldChg chg="modSp">
        <pc:chgData name="Krueger, Daniel (DI MC MTS DG VAL)" userId="S::krueger.daniel@siemens.com::63173366-236a-41c0-8712-ba5c6ac51841" providerId="AD" clId="Web-{C9DDC100-7EF8-0CED-939C-4D0BFF1EC038}" dt="2023-07-05T05:53:08.453" v="5"/>
        <pc:sldMkLst>
          <pc:docMk/>
          <pc:sldMk cId="361074184" sldId="2147375270"/>
        </pc:sldMkLst>
        <pc:graphicFrameChg chg="mod modGraphic">
          <ac:chgData name="Krueger, Daniel (DI MC MTS DG VAL)" userId="S::krueger.daniel@siemens.com::63173366-236a-41c0-8712-ba5c6ac51841" providerId="AD" clId="Web-{C9DDC100-7EF8-0CED-939C-4D0BFF1EC038}" dt="2023-07-05T05:53:08.453" v="5"/>
          <ac:graphicFrameMkLst>
            <pc:docMk/>
            <pc:sldMk cId="361074184" sldId="2147375270"/>
            <ac:graphicFrameMk id="10" creationId="{F02B6DB2-0D57-4592-BC60-FCF13DF4243F}"/>
          </ac:graphicFrameMkLst>
        </pc:graphicFrameChg>
      </pc:sldChg>
      <pc:sldChg chg="modSp">
        <pc:chgData name="Krueger, Daniel (DI MC MTS DG VAL)" userId="S::krueger.daniel@siemens.com::63173366-236a-41c0-8712-ba5c6ac51841" providerId="AD" clId="Web-{C9DDC100-7EF8-0CED-939C-4D0BFF1EC038}" dt="2023-07-05T05:52:05.842" v="1" actId="20577"/>
        <pc:sldMkLst>
          <pc:docMk/>
          <pc:sldMk cId="3885868997" sldId="2147375271"/>
        </pc:sldMkLst>
        <pc:spChg chg="mod">
          <ac:chgData name="Krueger, Daniel (DI MC MTS DG VAL)" userId="S::krueger.daniel@siemens.com::63173366-236a-41c0-8712-ba5c6ac51841" providerId="AD" clId="Web-{C9DDC100-7EF8-0CED-939C-4D0BFF1EC038}" dt="2023-07-05T05:52:05.842" v="1" actId="20577"/>
          <ac:spMkLst>
            <pc:docMk/>
            <pc:sldMk cId="3885868997" sldId="2147375271"/>
            <ac:spMk id="8" creationId="{DCF35E38-EB7D-453C-8BF9-70680911CF1F}"/>
          </ac:spMkLst>
        </pc:spChg>
      </pc:sldChg>
      <pc:sldChg chg="modSp">
        <pc:chgData name="Krueger, Daniel (DI MC MTS DG VAL)" userId="S::krueger.daniel@siemens.com::63173366-236a-41c0-8712-ba5c6ac51841" providerId="AD" clId="Web-{C9DDC100-7EF8-0CED-939C-4D0BFF1EC038}" dt="2023-07-05T05:55:28.660" v="9" actId="20577"/>
        <pc:sldMkLst>
          <pc:docMk/>
          <pc:sldMk cId="258614327" sldId="2147375272"/>
        </pc:sldMkLst>
        <pc:spChg chg="mod">
          <ac:chgData name="Krueger, Daniel (DI MC MTS DG VAL)" userId="S::krueger.daniel@siemens.com::63173366-236a-41c0-8712-ba5c6ac51841" providerId="AD" clId="Web-{C9DDC100-7EF8-0CED-939C-4D0BFF1EC038}" dt="2023-07-05T05:55:28.660" v="9" actId="20577"/>
          <ac:spMkLst>
            <pc:docMk/>
            <pc:sldMk cId="258614327" sldId="2147375272"/>
            <ac:spMk id="23" creationId="{5E1134AA-4EB7-4AE4-88D8-3502E0099F66}"/>
          </ac:spMkLst>
        </pc:spChg>
      </pc:sldChg>
      <pc:sldChg chg="modSp">
        <pc:chgData name="Krueger, Daniel (DI MC MTS DG VAL)" userId="S::krueger.daniel@siemens.com::63173366-236a-41c0-8712-ba5c6ac51841" providerId="AD" clId="Web-{C9DDC100-7EF8-0CED-939C-4D0BFF1EC038}" dt="2023-07-05T05:56:53.709" v="26" actId="20577"/>
        <pc:sldMkLst>
          <pc:docMk/>
          <pc:sldMk cId="1266025092" sldId="2147375843"/>
        </pc:sldMkLst>
        <pc:spChg chg="mod">
          <ac:chgData name="Krueger, Daniel (DI MC MTS DG VAL)" userId="S::krueger.daniel@siemens.com::63173366-236a-41c0-8712-ba5c6ac51841" providerId="AD" clId="Web-{C9DDC100-7EF8-0CED-939C-4D0BFF1EC038}" dt="2023-07-05T05:56:53.709" v="26" actId="20577"/>
          <ac:spMkLst>
            <pc:docMk/>
            <pc:sldMk cId="1266025092" sldId="2147375843"/>
            <ac:spMk id="854" creationId="{00000000-0000-0000-0000-000000000000}"/>
          </ac:spMkLst>
        </pc:spChg>
      </pc:sldChg>
      <pc:sldChg chg="modSp">
        <pc:chgData name="Krueger, Daniel (DI MC MTS DG VAL)" userId="S::krueger.daniel@siemens.com::63173366-236a-41c0-8712-ba5c6ac51841" providerId="AD" clId="Web-{C9DDC100-7EF8-0CED-939C-4D0BFF1EC038}" dt="2023-07-05T06:00:14.214" v="124" actId="20577"/>
        <pc:sldMkLst>
          <pc:docMk/>
          <pc:sldMk cId="1612565348" sldId="2147375844"/>
        </pc:sldMkLst>
        <pc:spChg chg="mod">
          <ac:chgData name="Krueger, Daniel (DI MC MTS DG VAL)" userId="S::krueger.daniel@siemens.com::63173366-236a-41c0-8712-ba5c6ac51841" providerId="AD" clId="Web-{C9DDC100-7EF8-0CED-939C-4D0BFF1EC038}" dt="2023-07-05T06:00:14.214" v="124" actId="20577"/>
          <ac:spMkLst>
            <pc:docMk/>
            <pc:sldMk cId="1612565348" sldId="2147375844"/>
            <ac:spMk id="17" creationId="{E51C50BB-2FFC-3746-F21D-9FA6E603495B}"/>
          </ac:spMkLst>
        </pc:spChg>
        <pc:spChg chg="mod">
          <ac:chgData name="Krueger, Daniel (DI MC MTS DG VAL)" userId="S::krueger.daniel@siemens.com::63173366-236a-41c0-8712-ba5c6ac51841" providerId="AD" clId="Web-{C9DDC100-7EF8-0CED-939C-4D0BFF1EC038}" dt="2023-07-05T05:59:45.885" v="109" actId="20577"/>
          <ac:spMkLst>
            <pc:docMk/>
            <pc:sldMk cId="1612565348" sldId="2147375844"/>
            <ac:spMk id="24" creationId="{90E09A38-6649-D184-6BAA-9726DBBE162F}"/>
          </ac:spMkLst>
        </pc:spChg>
      </pc:sldChg>
      <pc:sldChg chg="modSp">
        <pc:chgData name="Krueger, Daniel (DI MC MTS DG VAL)" userId="S::krueger.daniel@siemens.com::63173366-236a-41c0-8712-ba5c6ac51841" providerId="AD" clId="Web-{C9DDC100-7EF8-0CED-939C-4D0BFF1EC038}" dt="2023-07-05T06:03:56.923" v="141" actId="20577"/>
        <pc:sldMkLst>
          <pc:docMk/>
          <pc:sldMk cId="1494394373" sldId="2147375846"/>
        </pc:sldMkLst>
        <pc:spChg chg="mod">
          <ac:chgData name="Krueger, Daniel (DI MC MTS DG VAL)" userId="S::krueger.daniel@siemens.com::63173366-236a-41c0-8712-ba5c6ac51841" providerId="AD" clId="Web-{C9DDC100-7EF8-0CED-939C-4D0BFF1EC038}" dt="2023-07-05T06:03:34.594" v="131" actId="20577"/>
          <ac:spMkLst>
            <pc:docMk/>
            <pc:sldMk cId="1494394373" sldId="2147375846"/>
            <ac:spMk id="24" creationId="{C60589EA-7EBF-EA47-EC26-D37B7C2D7A4C}"/>
          </ac:spMkLst>
        </pc:spChg>
        <pc:spChg chg="mod">
          <ac:chgData name="Krueger, Daniel (DI MC MTS DG VAL)" userId="S::krueger.daniel@siemens.com::63173366-236a-41c0-8712-ba5c6ac51841" providerId="AD" clId="Web-{C9DDC100-7EF8-0CED-939C-4D0BFF1EC038}" dt="2023-07-05T06:03:56.923" v="141" actId="20577"/>
          <ac:spMkLst>
            <pc:docMk/>
            <pc:sldMk cId="1494394373" sldId="2147375846"/>
            <ac:spMk id="97" creationId="{637DF7FE-2125-B3E8-0895-635613BBD570}"/>
          </ac:spMkLst>
        </pc:spChg>
        <pc:spChg chg="mod">
          <ac:chgData name="Krueger, Daniel (DI MC MTS DG VAL)" userId="S::krueger.daniel@siemens.com::63173366-236a-41c0-8712-ba5c6ac51841" providerId="AD" clId="Web-{C9DDC100-7EF8-0CED-939C-4D0BFF1EC038}" dt="2023-07-05T06:02:26.890" v="129" actId="20577"/>
          <ac:spMkLst>
            <pc:docMk/>
            <pc:sldMk cId="1494394373" sldId="2147375846"/>
            <ac:spMk id="147" creationId="{83996EAC-2F8D-49F8-885A-4C032CCF4B59}"/>
          </ac:spMkLst>
        </pc:spChg>
      </pc:sldChg>
    </pc:docChg>
  </pc:docChgLst>
  <pc:docChgLst>
    <pc:chgData name="Oltmann, Mareike (DI MC MTS DG VAL)" userId="S::mareike.oltmann@siemens.com::e9d180a7-92fa-4729-bbe0-3cd6fe0b20a6" providerId="AD" clId="Web-{B8518571-588D-F6D1-0C71-36722757E916}"/>
    <pc:docChg chg="modSld">
      <pc:chgData name="Oltmann, Mareike (DI MC MTS DG VAL)" userId="S::mareike.oltmann@siemens.com::e9d180a7-92fa-4729-bbe0-3cd6fe0b20a6" providerId="AD" clId="Web-{B8518571-588D-F6D1-0C71-36722757E916}" dt="2023-09-01T12:01:29.871" v="0" actId="20577"/>
      <pc:docMkLst>
        <pc:docMk/>
      </pc:docMkLst>
      <pc:sldChg chg="modSp">
        <pc:chgData name="Oltmann, Mareike (DI MC MTS DG VAL)" userId="S::mareike.oltmann@siemens.com::e9d180a7-92fa-4729-bbe0-3cd6fe0b20a6" providerId="AD" clId="Web-{B8518571-588D-F6D1-0C71-36722757E916}" dt="2023-09-01T12:01:29.871" v="0" actId="20577"/>
        <pc:sldMkLst>
          <pc:docMk/>
          <pc:sldMk cId="1612565348" sldId="2147375844"/>
        </pc:sldMkLst>
        <pc:spChg chg="mod">
          <ac:chgData name="Oltmann, Mareike (DI MC MTS DG VAL)" userId="S::mareike.oltmann@siemens.com::e9d180a7-92fa-4729-bbe0-3cd6fe0b20a6" providerId="AD" clId="Web-{B8518571-588D-F6D1-0C71-36722757E916}" dt="2023-09-01T12:01:29.871" v="0" actId="20577"/>
          <ac:spMkLst>
            <pc:docMk/>
            <pc:sldMk cId="1612565348" sldId="2147375844"/>
            <ac:spMk id="11" creationId="{B017E564-D60D-FAB9-1B00-800B768F6E78}"/>
          </ac:spMkLst>
        </pc:spChg>
      </pc:sldChg>
    </pc:docChg>
  </pc:docChgLst>
  <pc:docChgLst>
    <pc:chgData name="Strahlberger, Michael (DI MC MTS DG VAL)" userId="S::michael.strahlberger@siemens.com::b3a28a79-7459-47b6-8a31-63616f2b9204" providerId="AD" clId="Web-{7562FD08-ACCD-FE06-E7D3-975F6A4C77B2}"/>
    <pc:docChg chg="modSld">
      <pc:chgData name="Strahlberger, Michael (DI MC MTS DG VAL)" userId="S::michael.strahlberger@siemens.com::b3a28a79-7459-47b6-8a31-63616f2b9204" providerId="AD" clId="Web-{7562FD08-ACCD-FE06-E7D3-975F6A4C77B2}" dt="2022-06-27T12:22:10.903" v="7"/>
      <pc:docMkLst>
        <pc:docMk/>
      </pc:docMkLst>
      <pc:sldChg chg="modSp">
        <pc:chgData name="Strahlberger, Michael (DI MC MTS DG VAL)" userId="S::michael.strahlberger@siemens.com::b3a28a79-7459-47b6-8a31-63616f2b9204" providerId="AD" clId="Web-{7562FD08-ACCD-FE06-E7D3-975F6A4C77B2}" dt="2022-06-27T12:22:10.903" v="7"/>
        <pc:sldMkLst>
          <pc:docMk/>
          <pc:sldMk cId="3225545642" sldId="1041"/>
        </pc:sldMkLst>
        <pc:graphicFrameChg chg="mod modGraphic">
          <ac:chgData name="Strahlberger, Michael (DI MC MTS DG VAL)" userId="S::michael.strahlberger@siemens.com::b3a28a79-7459-47b6-8a31-63616f2b9204" providerId="AD" clId="Web-{7562FD08-ACCD-FE06-E7D3-975F6A4C77B2}" dt="2022-06-27T12:22:10.903" v="7"/>
          <ac:graphicFrameMkLst>
            <pc:docMk/>
            <pc:sldMk cId="3225545642" sldId="1041"/>
            <ac:graphicFrameMk id="10" creationId="{F02B6DB2-0D57-4592-BC60-FCF13DF4243F}"/>
          </ac:graphicFrameMkLst>
        </pc:graphicFrameChg>
      </pc:sldChg>
    </pc:docChg>
  </pc:docChgLst>
  <pc:docChgLst>
    <pc:chgData name="Oltmann, Mareike (DI MC MTS DG VAL)" userId="e9d180a7-92fa-4729-bbe0-3cd6fe0b20a6" providerId="ADAL" clId="{3D87B9C6-5BCA-4A03-9F9C-31F372B9BB76}"/>
    <pc:docChg chg="undo redo custSel addSld delSld modSld modSection replTag">
      <pc:chgData name="Oltmann, Mareike (DI MC MTS DG VAL)" userId="e9d180a7-92fa-4729-bbe0-3cd6fe0b20a6" providerId="ADAL" clId="{3D87B9C6-5BCA-4A03-9F9C-31F372B9BB76}" dt="2023-08-28T10:00:48.901" v="476" actId="113"/>
      <pc:docMkLst>
        <pc:docMk/>
      </pc:docMkLst>
      <pc:sldChg chg="addSp delSp modSp mod">
        <pc:chgData name="Oltmann, Mareike (DI MC MTS DG VAL)" userId="e9d180a7-92fa-4729-bbe0-3cd6fe0b20a6" providerId="ADAL" clId="{3D87B9C6-5BCA-4A03-9F9C-31F372B9BB76}" dt="2023-08-28T09:51:40.056" v="474" actId="1076"/>
        <pc:sldMkLst>
          <pc:docMk/>
          <pc:sldMk cId="3885868997" sldId="2147375271"/>
        </pc:sldMkLst>
        <pc:spChg chg="add mod">
          <ac:chgData name="Oltmann, Mareike (DI MC MTS DG VAL)" userId="e9d180a7-92fa-4729-bbe0-3cd6fe0b20a6" providerId="ADAL" clId="{3D87B9C6-5BCA-4A03-9F9C-31F372B9BB76}" dt="2023-08-28T08:16:15.448" v="28" actId="1076"/>
          <ac:spMkLst>
            <pc:docMk/>
            <pc:sldMk cId="3885868997" sldId="2147375271"/>
            <ac:spMk id="3" creationId="{AE963E2C-9ADD-F69A-50A1-978D0A972493}"/>
          </ac:spMkLst>
        </pc:spChg>
        <pc:spChg chg="add mod">
          <ac:chgData name="Oltmann, Mareike (DI MC MTS DG VAL)" userId="e9d180a7-92fa-4729-bbe0-3cd6fe0b20a6" providerId="ADAL" clId="{3D87B9C6-5BCA-4A03-9F9C-31F372B9BB76}" dt="2023-08-28T09:51:40.056" v="474" actId="1076"/>
          <ac:spMkLst>
            <pc:docMk/>
            <pc:sldMk cId="3885868997" sldId="2147375271"/>
            <ac:spMk id="4" creationId="{9A661F40-FE58-7F23-F413-28C630E160D2}"/>
          </ac:spMkLst>
        </pc:spChg>
        <pc:spChg chg="add del mod">
          <ac:chgData name="Oltmann, Mareike (DI MC MTS DG VAL)" userId="e9d180a7-92fa-4729-bbe0-3cd6fe0b20a6" providerId="ADAL" clId="{3D87B9C6-5BCA-4A03-9F9C-31F372B9BB76}" dt="2023-08-28T08:19:14.720" v="74" actId="1076"/>
          <ac:spMkLst>
            <pc:docMk/>
            <pc:sldMk cId="3885868997" sldId="2147375271"/>
            <ac:spMk id="10" creationId="{8F61214A-12B0-0D57-5AEC-CA84ECA5713A}"/>
          </ac:spMkLst>
        </pc:spChg>
      </pc:sldChg>
      <pc:sldChg chg="modSp del mod">
        <pc:chgData name="Oltmann, Mareike (DI MC MTS DG VAL)" userId="e9d180a7-92fa-4729-bbe0-3cd6fe0b20a6" providerId="ADAL" clId="{3D87B9C6-5BCA-4A03-9F9C-31F372B9BB76}" dt="2023-08-28T09:34:26.750" v="94" actId="47"/>
        <pc:sldMkLst>
          <pc:docMk/>
          <pc:sldMk cId="258614327" sldId="2147375272"/>
        </pc:sldMkLst>
        <pc:spChg chg="mod">
          <ac:chgData name="Oltmann, Mareike (DI MC MTS DG VAL)" userId="e9d180a7-92fa-4729-bbe0-3cd6fe0b20a6" providerId="ADAL" clId="{3D87B9C6-5BCA-4A03-9F9C-31F372B9BB76}" dt="2023-08-28T09:32:51.540" v="85" actId="1076"/>
          <ac:spMkLst>
            <pc:docMk/>
            <pc:sldMk cId="258614327" sldId="2147375272"/>
            <ac:spMk id="12" creationId="{74A1DEAB-00AE-329A-212D-E63F0BBD34B3}"/>
          </ac:spMkLst>
        </pc:spChg>
        <pc:spChg chg="mod">
          <ac:chgData name="Oltmann, Mareike (DI MC MTS DG VAL)" userId="e9d180a7-92fa-4729-bbe0-3cd6fe0b20a6" providerId="ADAL" clId="{3D87B9C6-5BCA-4A03-9F9C-31F372B9BB76}" dt="2023-08-28T09:32:59.291" v="92"/>
          <ac:spMkLst>
            <pc:docMk/>
            <pc:sldMk cId="258614327" sldId="2147375272"/>
            <ac:spMk id="23" creationId="{5E1134AA-4EB7-4AE4-88D8-3502E0099F66}"/>
          </ac:spMkLst>
        </pc:spChg>
        <pc:picChg chg="mod">
          <ac:chgData name="Oltmann, Mareike (DI MC MTS DG VAL)" userId="e9d180a7-92fa-4729-bbe0-3cd6fe0b20a6" providerId="ADAL" clId="{3D87B9C6-5BCA-4A03-9F9C-31F372B9BB76}" dt="2023-08-28T09:32:51.540" v="85" actId="1076"/>
          <ac:picMkLst>
            <pc:docMk/>
            <pc:sldMk cId="258614327" sldId="2147375272"/>
            <ac:picMk id="2" creationId="{EDB0478F-372B-597C-44D0-3A3F89FE2BF5}"/>
          </ac:picMkLst>
        </pc:picChg>
      </pc:sldChg>
      <pc:sldChg chg="addSp delSp modSp mod">
        <pc:chgData name="Oltmann, Mareike (DI MC MTS DG VAL)" userId="e9d180a7-92fa-4729-bbe0-3cd6fe0b20a6" providerId="ADAL" clId="{3D87B9C6-5BCA-4A03-9F9C-31F372B9BB76}" dt="2023-08-28T09:51:12.960" v="471"/>
        <pc:sldMkLst>
          <pc:docMk/>
          <pc:sldMk cId="1266025092" sldId="2147375843"/>
        </pc:sldMkLst>
        <pc:spChg chg="mod ord">
          <ac:chgData name="Oltmann, Mareike (DI MC MTS DG VAL)" userId="e9d180a7-92fa-4729-bbe0-3cd6fe0b20a6" providerId="ADAL" clId="{3D87B9C6-5BCA-4A03-9F9C-31F372B9BB76}" dt="2023-08-28T09:51:12.947" v="467" actId="948"/>
          <ac:spMkLst>
            <pc:docMk/>
            <pc:sldMk cId="1266025092" sldId="2147375843"/>
            <ac:spMk id="3" creationId="{00000000-0000-0000-0000-000000000000}"/>
          </ac:spMkLst>
        </pc:spChg>
        <pc:spChg chg="add mod ord">
          <ac:chgData name="Oltmann, Mareike (DI MC MTS DG VAL)" userId="e9d180a7-92fa-4729-bbe0-3cd6fe0b20a6" providerId="ADAL" clId="{3D87B9C6-5BCA-4A03-9F9C-31F372B9BB76}" dt="2023-08-28T09:39:28.244" v="190"/>
          <ac:spMkLst>
            <pc:docMk/>
            <pc:sldMk cId="1266025092" sldId="2147375843"/>
            <ac:spMk id="4" creationId="{CB6B75B8-0387-8A39-0E64-1168A7C3AAAB}"/>
          </ac:spMkLst>
        </pc:spChg>
        <pc:spChg chg="mod ord">
          <ac:chgData name="Oltmann, Mareike (DI MC MTS DG VAL)" userId="e9d180a7-92fa-4729-bbe0-3cd6fe0b20a6" providerId="ADAL" clId="{3D87B9C6-5BCA-4A03-9F9C-31F372B9BB76}" dt="2023-08-28T09:39:28.247" v="196"/>
          <ac:spMkLst>
            <pc:docMk/>
            <pc:sldMk cId="1266025092" sldId="2147375843"/>
            <ac:spMk id="5" creationId="{5DC97A31-C15E-4F70-9E3F-7BBEADC3F544}"/>
          </ac:spMkLst>
        </pc:spChg>
        <pc:spChg chg="mod ord">
          <ac:chgData name="Oltmann, Mareike (DI MC MTS DG VAL)" userId="e9d180a7-92fa-4729-bbe0-3cd6fe0b20a6" providerId="ADAL" clId="{3D87B9C6-5BCA-4A03-9F9C-31F372B9BB76}" dt="2023-08-28T09:39:28.248" v="198"/>
          <ac:spMkLst>
            <pc:docMk/>
            <pc:sldMk cId="1266025092" sldId="2147375843"/>
            <ac:spMk id="6" creationId="{DC39B9F7-C842-0BA9-67B9-347372CC93B2}"/>
          </ac:spMkLst>
        </pc:spChg>
        <pc:spChg chg="add del mod modVis">
          <ac:chgData name="Oltmann, Mareike (DI MC MTS DG VAL)" userId="e9d180a7-92fa-4729-bbe0-3cd6fe0b20a6" providerId="ADAL" clId="{3D87B9C6-5BCA-4A03-9F9C-31F372B9BB76}" dt="2023-08-28T09:39:28.260" v="214"/>
          <ac:spMkLst>
            <pc:docMk/>
            <pc:sldMk cId="1266025092" sldId="2147375843"/>
            <ac:spMk id="7" creationId="{D9B27D79-D896-8D93-BE90-0ED9F565098C}"/>
          </ac:spMkLst>
        </pc:spChg>
        <pc:spChg chg="mod ord">
          <ac:chgData name="Oltmann, Mareike (DI MC MTS DG VAL)" userId="e9d180a7-92fa-4729-bbe0-3cd6fe0b20a6" providerId="ADAL" clId="{3D87B9C6-5BCA-4A03-9F9C-31F372B9BB76}" dt="2023-08-28T09:39:28.250" v="202"/>
          <ac:spMkLst>
            <pc:docMk/>
            <pc:sldMk cId="1266025092" sldId="2147375843"/>
            <ac:spMk id="9" creationId="{9569A257-1A23-5745-AD87-0DE7698F3980}"/>
          </ac:spMkLst>
        </pc:spChg>
        <pc:spChg chg="add mod">
          <ac:chgData name="Oltmann, Mareike (DI MC MTS DG VAL)" userId="e9d180a7-92fa-4729-bbe0-3cd6fe0b20a6" providerId="ADAL" clId="{3D87B9C6-5BCA-4A03-9F9C-31F372B9BB76}" dt="2023-08-28T09:39:37.876" v="218"/>
          <ac:spMkLst>
            <pc:docMk/>
            <pc:sldMk cId="1266025092" sldId="2147375843"/>
            <ac:spMk id="11" creationId="{539DE856-2FC0-9D03-F570-BB8B9B1E2559}"/>
          </ac:spMkLst>
        </pc:spChg>
        <pc:spChg chg="del">
          <ac:chgData name="Oltmann, Mareike (DI MC MTS DG VAL)" userId="e9d180a7-92fa-4729-bbe0-3cd6fe0b20a6" providerId="ADAL" clId="{3D87B9C6-5BCA-4A03-9F9C-31F372B9BB76}" dt="2023-08-28T09:39:22.071" v="149" actId="478"/>
          <ac:spMkLst>
            <pc:docMk/>
            <pc:sldMk cId="1266025092" sldId="2147375843"/>
            <ac:spMk id="14" creationId="{55CE2DD7-CCAA-16C8-A239-995C94594834}"/>
          </ac:spMkLst>
        </pc:spChg>
        <pc:spChg chg="del mod ord">
          <ac:chgData name="Oltmann, Mareike (DI MC MTS DG VAL)" userId="e9d180a7-92fa-4729-bbe0-3cd6fe0b20a6" providerId="ADAL" clId="{3D87B9C6-5BCA-4A03-9F9C-31F372B9BB76}" dt="2023-08-28T09:39:33.020" v="217" actId="478"/>
          <ac:spMkLst>
            <pc:docMk/>
            <pc:sldMk cId="1266025092" sldId="2147375843"/>
            <ac:spMk id="15" creationId="{250D7D65-EA14-559A-94A5-3606876575C7}"/>
          </ac:spMkLst>
        </pc:spChg>
        <pc:spChg chg="mod ord">
          <ac:chgData name="Oltmann, Mareike (DI MC MTS DG VAL)" userId="e9d180a7-92fa-4729-bbe0-3cd6fe0b20a6" providerId="ADAL" clId="{3D87B9C6-5BCA-4A03-9F9C-31F372B9BB76}" dt="2023-08-28T09:39:28.254" v="210"/>
          <ac:spMkLst>
            <pc:docMk/>
            <pc:sldMk cId="1266025092" sldId="2147375843"/>
            <ac:spMk id="17" creationId="{1E32C8C2-68AE-BBD2-1417-226B14BE3658}"/>
          </ac:spMkLst>
        </pc:spChg>
        <pc:spChg chg="mod ord">
          <ac:chgData name="Oltmann, Mareike (DI MC MTS DG VAL)" userId="e9d180a7-92fa-4729-bbe0-3cd6fe0b20a6" providerId="ADAL" clId="{3D87B9C6-5BCA-4A03-9F9C-31F372B9BB76}" dt="2023-08-28T09:51:12.742" v="466" actId="790"/>
          <ac:spMkLst>
            <pc:docMk/>
            <pc:sldMk cId="1266025092" sldId="2147375843"/>
            <ac:spMk id="854" creationId="{00000000-0000-0000-0000-000000000000}"/>
          </ac:spMkLst>
        </pc:spChg>
        <pc:graphicFrameChg chg="mod">
          <ac:chgData name="Oltmann, Mareike (DI MC MTS DG VAL)" userId="e9d180a7-92fa-4729-bbe0-3cd6fe0b20a6" providerId="ADAL" clId="{3D87B9C6-5BCA-4A03-9F9C-31F372B9BB76}" dt="2023-08-28T09:51:12.960" v="471"/>
          <ac:graphicFrameMkLst>
            <pc:docMk/>
            <pc:sldMk cId="1266025092" sldId="2147375843"/>
            <ac:graphicFrameMk id="8" creationId="{82E6890B-19A0-CFA6-0D89-210D0266E342}"/>
          </ac:graphicFrameMkLst>
        </pc:graphicFrameChg>
        <pc:picChg chg="mod ord">
          <ac:chgData name="Oltmann, Mareike (DI MC MTS DG VAL)" userId="e9d180a7-92fa-4729-bbe0-3cd6fe0b20a6" providerId="ADAL" clId="{3D87B9C6-5BCA-4A03-9F9C-31F372B9BB76}" dt="2023-08-28T09:39:53.425" v="222" actId="14100"/>
          <ac:picMkLst>
            <pc:docMk/>
            <pc:sldMk cId="1266025092" sldId="2147375843"/>
            <ac:picMk id="2" creationId="{B0AE7485-0FCB-3B95-2CDC-968E0CB7DC2A}"/>
          </ac:picMkLst>
        </pc:picChg>
        <pc:picChg chg="del mod ord">
          <ac:chgData name="Oltmann, Mareike (DI MC MTS DG VAL)" userId="e9d180a7-92fa-4729-bbe0-3cd6fe0b20a6" providerId="ADAL" clId="{3D87B9C6-5BCA-4A03-9F9C-31F372B9BB76}" dt="2023-08-28T09:39:56.953" v="223" actId="478"/>
          <ac:picMkLst>
            <pc:docMk/>
            <pc:sldMk cId="1266025092" sldId="2147375843"/>
            <ac:picMk id="13" creationId="{7DCD7928-42ED-4AFA-D899-9C1040047325}"/>
          </ac:picMkLst>
        </pc:picChg>
        <pc:cxnChg chg="mod ord">
          <ac:chgData name="Oltmann, Mareike (DI MC MTS DG VAL)" userId="e9d180a7-92fa-4729-bbe0-3cd6fe0b20a6" providerId="ADAL" clId="{3D87B9C6-5BCA-4A03-9F9C-31F372B9BB76}" dt="2023-08-28T09:39:28.251" v="204"/>
          <ac:cxnSpMkLst>
            <pc:docMk/>
            <pc:sldMk cId="1266025092" sldId="2147375843"/>
            <ac:cxnSpMk id="10" creationId="{FC0D6B50-8476-26EF-4B4F-DECFA84114D9}"/>
          </ac:cxnSpMkLst>
        </pc:cxnChg>
      </pc:sldChg>
      <pc:sldChg chg="addSp delSp modSp mod">
        <pc:chgData name="Oltmann, Mareike (DI MC MTS DG VAL)" userId="e9d180a7-92fa-4729-bbe0-3cd6fe0b20a6" providerId="ADAL" clId="{3D87B9C6-5BCA-4A03-9F9C-31F372B9BB76}" dt="2023-08-28T09:51:03.257" v="465"/>
        <pc:sldMkLst>
          <pc:docMk/>
          <pc:sldMk cId="1612565348" sldId="2147375844"/>
        </pc:sldMkLst>
        <pc:spChg chg="add del mod modVis">
          <ac:chgData name="Oltmann, Mareike (DI MC MTS DG VAL)" userId="e9d180a7-92fa-4729-bbe0-3cd6fe0b20a6" providerId="ADAL" clId="{3D87B9C6-5BCA-4A03-9F9C-31F372B9BB76}" dt="2023-08-28T09:51:03.254" v="463"/>
          <ac:spMkLst>
            <pc:docMk/>
            <pc:sldMk cId="1612565348" sldId="2147375844"/>
            <ac:spMk id="7" creationId="{FABCD367-8D75-5D59-7C48-E75184D5E52E}"/>
          </ac:spMkLst>
        </pc:spChg>
        <pc:spChg chg="mod">
          <ac:chgData name="Oltmann, Mareike (DI MC MTS DG VAL)" userId="e9d180a7-92fa-4729-bbe0-3cd6fe0b20a6" providerId="ADAL" clId="{3D87B9C6-5BCA-4A03-9F9C-31F372B9BB76}" dt="2023-08-28T09:51:02.644" v="421" actId="790"/>
          <ac:spMkLst>
            <pc:docMk/>
            <pc:sldMk cId="1612565348" sldId="2147375844"/>
            <ac:spMk id="8" creationId="{8F9BC290-A6FD-304A-AD78-3EFBDA75B9B2}"/>
          </ac:spMkLst>
        </pc:spChg>
        <pc:spChg chg="mod">
          <ac:chgData name="Oltmann, Mareike (DI MC MTS DG VAL)" userId="e9d180a7-92fa-4729-bbe0-3cd6fe0b20a6" providerId="ADAL" clId="{3D87B9C6-5BCA-4A03-9F9C-31F372B9BB76}" dt="2023-08-28T09:51:02.644" v="421" actId="790"/>
          <ac:spMkLst>
            <pc:docMk/>
            <pc:sldMk cId="1612565348" sldId="2147375844"/>
            <ac:spMk id="11" creationId="{B017E564-D60D-FAB9-1B00-800B768F6E78}"/>
          </ac:spMkLst>
        </pc:spChg>
        <pc:spChg chg="mod">
          <ac:chgData name="Oltmann, Mareike (DI MC MTS DG VAL)" userId="e9d180a7-92fa-4729-bbe0-3cd6fe0b20a6" providerId="ADAL" clId="{3D87B9C6-5BCA-4A03-9F9C-31F372B9BB76}" dt="2023-08-28T09:51:03.186" v="422" actId="948"/>
          <ac:spMkLst>
            <pc:docMk/>
            <pc:sldMk cId="1612565348" sldId="2147375844"/>
            <ac:spMk id="13" creationId="{C919B719-7AFD-3285-5BAE-4CCDCDEF2ED4}"/>
          </ac:spMkLst>
        </pc:spChg>
        <pc:spChg chg="mod">
          <ac:chgData name="Oltmann, Mareike (DI MC MTS DG VAL)" userId="e9d180a7-92fa-4729-bbe0-3cd6fe0b20a6" providerId="ADAL" clId="{3D87B9C6-5BCA-4A03-9F9C-31F372B9BB76}" dt="2023-08-28T09:51:02.644" v="421" actId="790"/>
          <ac:spMkLst>
            <pc:docMk/>
            <pc:sldMk cId="1612565348" sldId="2147375844"/>
            <ac:spMk id="17" creationId="{E51C50BB-2FFC-3746-F21D-9FA6E603495B}"/>
          </ac:spMkLst>
        </pc:spChg>
        <pc:spChg chg="mod">
          <ac:chgData name="Oltmann, Mareike (DI MC MTS DG VAL)" userId="e9d180a7-92fa-4729-bbe0-3cd6fe0b20a6" providerId="ADAL" clId="{3D87B9C6-5BCA-4A03-9F9C-31F372B9BB76}" dt="2023-08-28T09:51:02.644" v="421" actId="790"/>
          <ac:spMkLst>
            <pc:docMk/>
            <pc:sldMk cId="1612565348" sldId="2147375844"/>
            <ac:spMk id="18" creationId="{2D486161-7E23-7A8E-D0AE-E3109A76B14D}"/>
          </ac:spMkLst>
        </pc:spChg>
        <pc:spChg chg="mod">
          <ac:chgData name="Oltmann, Mareike (DI MC MTS DG VAL)" userId="e9d180a7-92fa-4729-bbe0-3cd6fe0b20a6" providerId="ADAL" clId="{3D87B9C6-5BCA-4A03-9F9C-31F372B9BB76}" dt="2023-08-28T09:51:02.644" v="421" actId="790"/>
          <ac:spMkLst>
            <pc:docMk/>
            <pc:sldMk cId="1612565348" sldId="2147375844"/>
            <ac:spMk id="21" creationId="{9F698547-A261-022F-D5C7-120B6D9BB8AC}"/>
          </ac:spMkLst>
        </pc:spChg>
        <pc:spChg chg="mod">
          <ac:chgData name="Oltmann, Mareike (DI MC MTS DG VAL)" userId="e9d180a7-92fa-4729-bbe0-3cd6fe0b20a6" providerId="ADAL" clId="{3D87B9C6-5BCA-4A03-9F9C-31F372B9BB76}" dt="2023-08-28T09:51:02.644" v="421" actId="790"/>
          <ac:spMkLst>
            <pc:docMk/>
            <pc:sldMk cId="1612565348" sldId="2147375844"/>
            <ac:spMk id="22" creationId="{14F77D81-C4A7-308E-F01C-6A234D89FC65}"/>
          </ac:spMkLst>
        </pc:spChg>
        <pc:spChg chg="mod">
          <ac:chgData name="Oltmann, Mareike (DI MC MTS DG VAL)" userId="e9d180a7-92fa-4729-bbe0-3cd6fe0b20a6" providerId="ADAL" clId="{3D87B9C6-5BCA-4A03-9F9C-31F372B9BB76}" dt="2023-08-28T09:51:02.644" v="421" actId="790"/>
          <ac:spMkLst>
            <pc:docMk/>
            <pc:sldMk cId="1612565348" sldId="2147375844"/>
            <ac:spMk id="23" creationId="{E8E5D12F-7D90-2796-4AD9-90F02A79C726}"/>
          </ac:spMkLst>
        </pc:spChg>
        <pc:spChg chg="mod">
          <ac:chgData name="Oltmann, Mareike (DI MC MTS DG VAL)" userId="e9d180a7-92fa-4729-bbe0-3cd6fe0b20a6" providerId="ADAL" clId="{3D87B9C6-5BCA-4A03-9F9C-31F372B9BB76}" dt="2023-08-28T09:51:02.644" v="421" actId="790"/>
          <ac:spMkLst>
            <pc:docMk/>
            <pc:sldMk cId="1612565348" sldId="2147375844"/>
            <ac:spMk id="24" creationId="{90E09A38-6649-D184-6BAA-9726DBBE162F}"/>
          </ac:spMkLst>
        </pc:spChg>
        <pc:spChg chg="mod">
          <ac:chgData name="Oltmann, Mareike (DI MC MTS DG VAL)" userId="e9d180a7-92fa-4729-bbe0-3cd6fe0b20a6" providerId="ADAL" clId="{3D87B9C6-5BCA-4A03-9F9C-31F372B9BB76}" dt="2023-08-28T09:51:02.644" v="421" actId="790"/>
          <ac:spMkLst>
            <pc:docMk/>
            <pc:sldMk cId="1612565348" sldId="2147375844"/>
            <ac:spMk id="26" creationId="{0504C75A-61D7-AC08-5611-F11508308B5A}"/>
          </ac:spMkLst>
        </pc:spChg>
        <pc:spChg chg="mod">
          <ac:chgData name="Oltmann, Mareike (DI MC MTS DG VAL)" userId="e9d180a7-92fa-4729-bbe0-3cd6fe0b20a6" providerId="ADAL" clId="{3D87B9C6-5BCA-4A03-9F9C-31F372B9BB76}" dt="2023-08-28T09:51:02.644" v="421" actId="790"/>
          <ac:spMkLst>
            <pc:docMk/>
            <pc:sldMk cId="1612565348" sldId="2147375844"/>
            <ac:spMk id="27" creationId="{8EB11B06-4337-C3D3-DB3F-08F01F9FF4B1}"/>
          </ac:spMkLst>
        </pc:spChg>
        <pc:graphicFrameChg chg="mod">
          <ac:chgData name="Oltmann, Mareike (DI MC MTS DG VAL)" userId="e9d180a7-92fa-4729-bbe0-3cd6fe0b20a6" providerId="ADAL" clId="{3D87B9C6-5BCA-4A03-9F9C-31F372B9BB76}" dt="2023-08-28T09:51:03.257" v="465"/>
          <ac:graphicFrameMkLst>
            <pc:docMk/>
            <pc:sldMk cId="1612565348" sldId="2147375844"/>
            <ac:graphicFrameMk id="4" creationId="{71234CB8-5B97-A9AD-6141-8147FB385C59}"/>
          </ac:graphicFrameMkLst>
        </pc:graphicFrameChg>
      </pc:sldChg>
      <pc:sldChg chg="addSp delSp modSp mod">
        <pc:chgData name="Oltmann, Mareike (DI MC MTS DG VAL)" userId="e9d180a7-92fa-4729-bbe0-3cd6fe0b20a6" providerId="ADAL" clId="{3D87B9C6-5BCA-4A03-9F9C-31F372B9BB76}" dt="2023-08-28T10:00:48.901" v="476" actId="113"/>
        <pc:sldMkLst>
          <pc:docMk/>
          <pc:sldMk cId="1494394373" sldId="2147375846"/>
        </pc:sldMkLst>
        <pc:spChg chg="mod">
          <ac:chgData name="Oltmann, Mareike (DI MC MTS DG VAL)" userId="e9d180a7-92fa-4729-bbe0-3cd6fe0b20a6" providerId="ADAL" clId="{3D87B9C6-5BCA-4A03-9F9C-31F372B9BB76}" dt="2023-08-28T09:46:21.879" v="324" actId="948"/>
          <ac:spMkLst>
            <pc:docMk/>
            <pc:sldMk cId="1494394373" sldId="2147375846"/>
            <ac:spMk id="2" creationId="{00000000-0000-0000-0000-000000000000}"/>
          </ac:spMkLst>
        </pc:spChg>
        <pc:spChg chg="add del mod modVis">
          <ac:chgData name="Oltmann, Mareike (DI MC MTS DG VAL)" userId="e9d180a7-92fa-4729-bbe0-3cd6fe0b20a6" providerId="ADAL" clId="{3D87B9C6-5BCA-4A03-9F9C-31F372B9BB76}" dt="2023-08-28T09:46:21.949" v="365"/>
          <ac:spMkLst>
            <pc:docMk/>
            <pc:sldMk cId="1494394373" sldId="2147375846"/>
            <ac:spMk id="4" creationId="{20C95084-1AAB-D67C-A295-162886136C09}"/>
          </ac:spMkLst>
        </pc:spChg>
        <pc:spChg chg="mod">
          <ac:chgData name="Oltmann, Mareike (DI MC MTS DG VAL)" userId="e9d180a7-92fa-4729-bbe0-3cd6fe0b20a6" providerId="ADAL" clId="{3D87B9C6-5BCA-4A03-9F9C-31F372B9BB76}" dt="2023-08-28T09:46:21.389" v="323" actId="790"/>
          <ac:spMkLst>
            <pc:docMk/>
            <pc:sldMk cId="1494394373" sldId="2147375846"/>
            <ac:spMk id="11" creationId="{33B891A8-1F82-0E3F-E48F-CF3F056315B7}"/>
          </ac:spMkLst>
        </pc:spChg>
        <pc:spChg chg="mod">
          <ac:chgData name="Oltmann, Mareike (DI MC MTS DG VAL)" userId="e9d180a7-92fa-4729-bbe0-3cd6fe0b20a6" providerId="ADAL" clId="{3D87B9C6-5BCA-4A03-9F9C-31F372B9BB76}" dt="2023-08-28T09:46:21.389" v="323" actId="790"/>
          <ac:spMkLst>
            <pc:docMk/>
            <pc:sldMk cId="1494394373" sldId="2147375846"/>
            <ac:spMk id="12" creationId="{C9DD64CF-E610-F559-8B42-FE8BD4E94503}"/>
          </ac:spMkLst>
        </pc:spChg>
        <pc:spChg chg="mod">
          <ac:chgData name="Oltmann, Mareike (DI MC MTS DG VAL)" userId="e9d180a7-92fa-4729-bbe0-3cd6fe0b20a6" providerId="ADAL" clId="{3D87B9C6-5BCA-4A03-9F9C-31F372B9BB76}" dt="2023-08-28T09:46:21.389" v="323" actId="790"/>
          <ac:spMkLst>
            <pc:docMk/>
            <pc:sldMk cId="1494394373" sldId="2147375846"/>
            <ac:spMk id="14" creationId="{389E5C67-789E-40FB-4928-B352144D20EA}"/>
          </ac:spMkLst>
        </pc:spChg>
        <pc:spChg chg="mod">
          <ac:chgData name="Oltmann, Mareike (DI MC MTS DG VAL)" userId="e9d180a7-92fa-4729-bbe0-3cd6fe0b20a6" providerId="ADAL" clId="{3D87B9C6-5BCA-4A03-9F9C-31F372B9BB76}" dt="2023-08-28T09:46:21.389" v="323" actId="790"/>
          <ac:spMkLst>
            <pc:docMk/>
            <pc:sldMk cId="1494394373" sldId="2147375846"/>
            <ac:spMk id="15" creationId="{359D08DB-4198-DDCD-283F-CC6ECC95B960}"/>
          </ac:spMkLst>
        </pc:spChg>
        <pc:spChg chg="mod">
          <ac:chgData name="Oltmann, Mareike (DI MC MTS DG VAL)" userId="e9d180a7-92fa-4729-bbe0-3cd6fe0b20a6" providerId="ADAL" clId="{3D87B9C6-5BCA-4A03-9F9C-31F372B9BB76}" dt="2023-08-28T09:46:21.389" v="323" actId="790"/>
          <ac:spMkLst>
            <pc:docMk/>
            <pc:sldMk cId="1494394373" sldId="2147375846"/>
            <ac:spMk id="16" creationId="{AC3A3EF5-D864-DDAF-6489-74A73D52655A}"/>
          </ac:spMkLst>
        </pc:spChg>
        <pc:spChg chg="mod">
          <ac:chgData name="Oltmann, Mareike (DI MC MTS DG VAL)" userId="e9d180a7-92fa-4729-bbe0-3cd6fe0b20a6" providerId="ADAL" clId="{3D87B9C6-5BCA-4A03-9F9C-31F372B9BB76}" dt="2023-08-28T09:46:21.389" v="323" actId="790"/>
          <ac:spMkLst>
            <pc:docMk/>
            <pc:sldMk cId="1494394373" sldId="2147375846"/>
            <ac:spMk id="17" creationId="{02834E42-6A31-77E4-7565-5979153232EE}"/>
          </ac:spMkLst>
        </pc:spChg>
        <pc:spChg chg="mod">
          <ac:chgData name="Oltmann, Mareike (DI MC MTS DG VAL)" userId="e9d180a7-92fa-4729-bbe0-3cd6fe0b20a6" providerId="ADAL" clId="{3D87B9C6-5BCA-4A03-9F9C-31F372B9BB76}" dt="2023-08-28T09:46:21.389" v="323" actId="790"/>
          <ac:spMkLst>
            <pc:docMk/>
            <pc:sldMk cId="1494394373" sldId="2147375846"/>
            <ac:spMk id="21" creationId="{BEDF3C04-9790-3FBB-58F9-F036FF69525B}"/>
          </ac:spMkLst>
        </pc:spChg>
        <pc:spChg chg="mod">
          <ac:chgData name="Oltmann, Mareike (DI MC MTS DG VAL)" userId="e9d180a7-92fa-4729-bbe0-3cd6fe0b20a6" providerId="ADAL" clId="{3D87B9C6-5BCA-4A03-9F9C-31F372B9BB76}" dt="2023-08-28T09:46:21.389" v="323" actId="790"/>
          <ac:spMkLst>
            <pc:docMk/>
            <pc:sldMk cId="1494394373" sldId="2147375846"/>
            <ac:spMk id="22" creationId="{529026FB-2AF8-50C5-2444-36AA4AA2E9AE}"/>
          </ac:spMkLst>
        </pc:spChg>
        <pc:spChg chg="mod">
          <ac:chgData name="Oltmann, Mareike (DI MC MTS DG VAL)" userId="e9d180a7-92fa-4729-bbe0-3cd6fe0b20a6" providerId="ADAL" clId="{3D87B9C6-5BCA-4A03-9F9C-31F372B9BB76}" dt="2023-08-28T09:46:21.389" v="323" actId="790"/>
          <ac:spMkLst>
            <pc:docMk/>
            <pc:sldMk cId="1494394373" sldId="2147375846"/>
            <ac:spMk id="24" creationId="{C60589EA-7EBF-EA47-EC26-D37B7C2D7A4C}"/>
          </ac:spMkLst>
        </pc:spChg>
        <pc:spChg chg="mod">
          <ac:chgData name="Oltmann, Mareike (DI MC MTS DG VAL)" userId="e9d180a7-92fa-4729-bbe0-3cd6fe0b20a6" providerId="ADAL" clId="{3D87B9C6-5BCA-4A03-9F9C-31F372B9BB76}" dt="2023-08-28T09:46:21.389" v="323" actId="790"/>
          <ac:spMkLst>
            <pc:docMk/>
            <pc:sldMk cId="1494394373" sldId="2147375846"/>
            <ac:spMk id="27" creationId="{4530E405-9692-DFA9-A62E-B83D0AA0512B}"/>
          </ac:spMkLst>
        </pc:spChg>
        <pc:spChg chg="mod">
          <ac:chgData name="Oltmann, Mareike (DI MC MTS DG VAL)" userId="e9d180a7-92fa-4729-bbe0-3cd6fe0b20a6" providerId="ADAL" clId="{3D87B9C6-5BCA-4A03-9F9C-31F372B9BB76}" dt="2023-08-28T09:46:21.389" v="323" actId="790"/>
          <ac:spMkLst>
            <pc:docMk/>
            <pc:sldMk cId="1494394373" sldId="2147375846"/>
            <ac:spMk id="28" creationId="{BAECC9DD-1AED-CF32-30C3-1AD37D684A5C}"/>
          </ac:spMkLst>
        </pc:spChg>
        <pc:spChg chg="mod">
          <ac:chgData name="Oltmann, Mareike (DI MC MTS DG VAL)" userId="e9d180a7-92fa-4729-bbe0-3cd6fe0b20a6" providerId="ADAL" clId="{3D87B9C6-5BCA-4A03-9F9C-31F372B9BB76}" dt="2023-08-28T09:46:21.389" v="323" actId="790"/>
          <ac:spMkLst>
            <pc:docMk/>
            <pc:sldMk cId="1494394373" sldId="2147375846"/>
            <ac:spMk id="97" creationId="{637DF7FE-2125-B3E8-0895-635613BBD570}"/>
          </ac:spMkLst>
        </pc:spChg>
        <pc:spChg chg="mod">
          <ac:chgData name="Oltmann, Mareike (DI MC MTS DG VAL)" userId="e9d180a7-92fa-4729-bbe0-3cd6fe0b20a6" providerId="ADAL" clId="{3D87B9C6-5BCA-4A03-9F9C-31F372B9BB76}" dt="2023-08-28T09:46:21.389" v="323" actId="790"/>
          <ac:spMkLst>
            <pc:docMk/>
            <pc:sldMk cId="1494394373" sldId="2147375846"/>
            <ac:spMk id="98" creationId="{74F856BD-4362-5BEB-229B-53A0BAAF390D}"/>
          </ac:spMkLst>
        </pc:spChg>
        <pc:spChg chg="mod">
          <ac:chgData name="Oltmann, Mareike (DI MC MTS DG VAL)" userId="e9d180a7-92fa-4729-bbe0-3cd6fe0b20a6" providerId="ADAL" clId="{3D87B9C6-5BCA-4A03-9F9C-31F372B9BB76}" dt="2023-08-28T09:46:21.389" v="323" actId="790"/>
          <ac:spMkLst>
            <pc:docMk/>
            <pc:sldMk cId="1494394373" sldId="2147375846"/>
            <ac:spMk id="125" creationId="{7978D5EE-A1A8-4A0D-A761-4ACC5629442E}"/>
          </ac:spMkLst>
        </pc:spChg>
        <pc:spChg chg="mod">
          <ac:chgData name="Oltmann, Mareike (DI MC MTS DG VAL)" userId="e9d180a7-92fa-4729-bbe0-3cd6fe0b20a6" providerId="ADAL" clId="{3D87B9C6-5BCA-4A03-9F9C-31F372B9BB76}" dt="2023-08-28T10:00:48.901" v="476" actId="113"/>
          <ac:spMkLst>
            <pc:docMk/>
            <pc:sldMk cId="1494394373" sldId="2147375846"/>
            <ac:spMk id="147" creationId="{83996EAC-2F8D-49F8-885A-4C032CCF4B59}"/>
          </ac:spMkLst>
        </pc:spChg>
        <pc:graphicFrameChg chg="mod">
          <ac:chgData name="Oltmann, Mareike (DI MC MTS DG VAL)" userId="e9d180a7-92fa-4729-bbe0-3cd6fe0b20a6" providerId="ADAL" clId="{3D87B9C6-5BCA-4A03-9F9C-31F372B9BB76}" dt="2023-08-28T09:46:21.953" v="367"/>
          <ac:graphicFrameMkLst>
            <pc:docMk/>
            <pc:sldMk cId="1494394373" sldId="2147375846"/>
            <ac:graphicFrameMk id="117" creationId="{00000000-0000-0000-0000-000000000000}"/>
          </ac:graphicFrameMkLst>
        </pc:graphicFrameChg>
      </pc:sldChg>
      <pc:sldChg chg="addSp delSp modSp mod">
        <pc:chgData name="Oltmann, Mareike (DI MC MTS DG VAL)" userId="e9d180a7-92fa-4729-bbe0-3cd6fe0b20a6" providerId="ADAL" clId="{3D87B9C6-5BCA-4A03-9F9C-31F372B9BB76}" dt="2023-08-28T09:50:09.619" v="385" actId="1036"/>
        <pc:sldMkLst>
          <pc:docMk/>
          <pc:sldMk cId="780728259" sldId="2147375847"/>
        </pc:sldMkLst>
        <pc:spChg chg="mod">
          <ac:chgData name="Oltmann, Mareike (DI MC MTS DG VAL)" userId="e9d180a7-92fa-4729-bbe0-3cd6fe0b20a6" providerId="ADAL" clId="{3D87B9C6-5BCA-4A03-9F9C-31F372B9BB76}" dt="2023-08-28T09:47:05.230" v="370"/>
          <ac:spMkLst>
            <pc:docMk/>
            <pc:sldMk cId="780728259" sldId="2147375847"/>
            <ac:spMk id="27" creationId="{452FCBE7-3725-4DF4-9B4E-FF9616B2907A}"/>
          </ac:spMkLst>
        </pc:spChg>
        <pc:grpChg chg="add del mod">
          <ac:chgData name="Oltmann, Mareike (DI MC MTS DG VAL)" userId="e9d180a7-92fa-4729-bbe0-3cd6fe0b20a6" providerId="ADAL" clId="{3D87B9C6-5BCA-4A03-9F9C-31F372B9BB76}" dt="2023-08-28T09:49:39.338" v="377" actId="1076"/>
          <ac:grpSpMkLst>
            <pc:docMk/>
            <pc:sldMk cId="780728259" sldId="2147375847"/>
            <ac:grpSpMk id="5" creationId="{71824844-3045-4BBF-825C-2CD65FB8DA8F}"/>
          </ac:grpSpMkLst>
        </pc:grpChg>
        <pc:grpChg chg="add del mod">
          <ac:chgData name="Oltmann, Mareike (DI MC MTS DG VAL)" userId="e9d180a7-92fa-4729-bbe0-3cd6fe0b20a6" providerId="ADAL" clId="{3D87B9C6-5BCA-4A03-9F9C-31F372B9BB76}" dt="2023-08-28T09:49:57.830" v="381" actId="1076"/>
          <ac:grpSpMkLst>
            <pc:docMk/>
            <pc:sldMk cId="780728259" sldId="2147375847"/>
            <ac:grpSpMk id="12" creationId="{1F41A427-C927-41CA-7865-500412DD99B1}"/>
          </ac:grpSpMkLst>
        </pc:grpChg>
        <pc:picChg chg="add del mod">
          <ac:chgData name="Oltmann, Mareike (DI MC MTS DG VAL)" userId="e9d180a7-92fa-4729-bbe0-3cd6fe0b20a6" providerId="ADAL" clId="{3D87B9C6-5BCA-4A03-9F9C-31F372B9BB76}" dt="2023-08-28T09:49:54.307" v="380" actId="1076"/>
          <ac:picMkLst>
            <pc:docMk/>
            <pc:sldMk cId="780728259" sldId="2147375847"/>
            <ac:picMk id="9" creationId="{BE80C366-22C0-7063-FC6B-2D26B3D51317}"/>
          </ac:picMkLst>
        </pc:picChg>
        <pc:picChg chg="add del mod">
          <ac:chgData name="Oltmann, Mareike (DI MC MTS DG VAL)" userId="e9d180a7-92fa-4729-bbe0-3cd6fe0b20a6" providerId="ADAL" clId="{3D87B9C6-5BCA-4A03-9F9C-31F372B9BB76}" dt="2023-08-28T09:49:44.214" v="378" actId="1076"/>
          <ac:picMkLst>
            <pc:docMk/>
            <pc:sldMk cId="780728259" sldId="2147375847"/>
            <ac:picMk id="10" creationId="{AC18A39D-1AFC-52A9-DAC1-9EE0D4EE2D9F}"/>
          </ac:picMkLst>
        </pc:picChg>
        <pc:picChg chg="add del mod">
          <ac:chgData name="Oltmann, Mareike (DI MC MTS DG VAL)" userId="e9d180a7-92fa-4729-bbe0-3cd6fe0b20a6" providerId="ADAL" clId="{3D87B9C6-5BCA-4A03-9F9C-31F372B9BB76}" dt="2023-08-28T09:50:03.439" v="383" actId="1076"/>
          <ac:picMkLst>
            <pc:docMk/>
            <pc:sldMk cId="780728259" sldId="2147375847"/>
            <ac:picMk id="11" creationId="{52CB17C3-5BE4-0764-6ED2-341D3A1D99CF}"/>
          </ac:picMkLst>
        </pc:picChg>
        <pc:picChg chg="add del mod">
          <ac:chgData name="Oltmann, Mareike (DI MC MTS DG VAL)" userId="e9d180a7-92fa-4729-bbe0-3cd6fe0b20a6" providerId="ADAL" clId="{3D87B9C6-5BCA-4A03-9F9C-31F372B9BB76}" dt="2023-08-28T09:50:01.792" v="382" actId="1076"/>
          <ac:picMkLst>
            <pc:docMk/>
            <pc:sldMk cId="780728259" sldId="2147375847"/>
            <ac:picMk id="15" creationId="{CACE0D42-1385-3BBB-434D-12AA4589EBCB}"/>
          </ac:picMkLst>
        </pc:picChg>
        <pc:picChg chg="add del mod">
          <ac:chgData name="Oltmann, Mareike (DI MC MTS DG VAL)" userId="e9d180a7-92fa-4729-bbe0-3cd6fe0b20a6" providerId="ADAL" clId="{3D87B9C6-5BCA-4A03-9F9C-31F372B9BB76}" dt="2023-08-28T09:50:09.619" v="385" actId="1036"/>
          <ac:picMkLst>
            <pc:docMk/>
            <pc:sldMk cId="780728259" sldId="2147375847"/>
            <ac:picMk id="16" creationId="{D62BD75C-E94A-1E40-5084-1FE822886214}"/>
          </ac:picMkLst>
        </pc:picChg>
      </pc:sldChg>
      <pc:sldChg chg="add modNotesTx">
        <pc:chgData name="Oltmann, Mareike (DI MC MTS DG VAL)" userId="e9d180a7-92fa-4729-bbe0-3cd6fe0b20a6" providerId="ADAL" clId="{3D87B9C6-5BCA-4A03-9F9C-31F372B9BB76}" dt="2023-08-28T09:34:39.624" v="96" actId="20577"/>
        <pc:sldMkLst>
          <pc:docMk/>
          <pc:sldMk cId="1187811635" sldId="2147375849"/>
        </pc:sldMkLst>
      </pc:sldChg>
    </pc:docChg>
  </pc:docChgLst>
  <pc:docChgLst>
    <pc:chgData name="Oltmann, Mareike (DI MC MTS DG VAL)" userId="e9d180a7-92fa-4729-bbe0-3cd6fe0b20a6" providerId="ADAL" clId="{AD476B4C-CC52-40DA-870F-FC0BE6B3AEF1}"/>
    <pc:docChg chg="undo redo custSel addSld delSld modSld sldOrd modSection">
      <pc:chgData name="Oltmann, Mareike (DI MC MTS DG VAL)" userId="e9d180a7-92fa-4729-bbe0-3cd6fe0b20a6" providerId="ADAL" clId="{AD476B4C-CC52-40DA-870F-FC0BE6B3AEF1}" dt="2022-09-27T11:22:58.285" v="6280" actId="1076"/>
      <pc:docMkLst>
        <pc:docMk/>
      </pc:docMkLst>
      <pc:sldChg chg="add mod ord modShow">
        <pc:chgData name="Oltmann, Mareike (DI MC MTS DG VAL)" userId="e9d180a7-92fa-4729-bbe0-3cd6fe0b20a6" providerId="ADAL" clId="{AD476B4C-CC52-40DA-870F-FC0BE6B3AEF1}" dt="2022-05-17T06:39:58.388" v="4660" actId="729"/>
        <pc:sldMkLst>
          <pc:docMk/>
          <pc:sldMk cId="968877260" sldId="257"/>
        </pc:sldMkLst>
      </pc:sldChg>
      <pc:sldChg chg="add del mod ord modShow">
        <pc:chgData name="Oltmann, Mareike (DI MC MTS DG VAL)" userId="e9d180a7-92fa-4729-bbe0-3cd6fe0b20a6" providerId="ADAL" clId="{AD476B4C-CC52-40DA-870F-FC0BE6B3AEF1}" dt="2022-05-17T06:40:40.027" v="4662" actId="47"/>
        <pc:sldMkLst>
          <pc:docMk/>
          <pc:sldMk cId="873768355" sldId="394"/>
        </pc:sldMkLst>
      </pc:sldChg>
      <pc:sldChg chg="addSp delSp modSp mod setBg addCm delCm modCm">
        <pc:chgData name="Oltmann, Mareike (DI MC MTS DG VAL)" userId="e9d180a7-92fa-4729-bbe0-3cd6fe0b20a6" providerId="ADAL" clId="{AD476B4C-CC52-40DA-870F-FC0BE6B3AEF1}" dt="2022-05-20T11:43:19.978" v="6247" actId="14100"/>
        <pc:sldMkLst>
          <pc:docMk/>
          <pc:sldMk cId="2203963773" sldId="479"/>
        </pc:sldMkLst>
        <pc:spChg chg="mod">
          <ac:chgData name="Oltmann, Mareike (DI MC MTS DG VAL)" userId="e9d180a7-92fa-4729-bbe0-3cd6fe0b20a6" providerId="ADAL" clId="{AD476B4C-CC52-40DA-870F-FC0BE6B3AEF1}" dt="2022-05-20T11:41:04.129" v="6196" actId="1076"/>
          <ac:spMkLst>
            <pc:docMk/>
            <pc:sldMk cId="2203963773" sldId="479"/>
            <ac:spMk id="2" creationId="{00000000-0000-0000-0000-000000000000}"/>
          </ac:spMkLst>
        </pc:spChg>
        <pc:spChg chg="add del mod ord">
          <ac:chgData name="Oltmann, Mareike (DI MC MTS DG VAL)" userId="e9d180a7-92fa-4729-bbe0-3cd6fe0b20a6" providerId="ADAL" clId="{AD476B4C-CC52-40DA-870F-FC0BE6B3AEF1}" dt="2022-05-20T09:31:20.928" v="5363" actId="478"/>
          <ac:spMkLst>
            <pc:docMk/>
            <pc:sldMk cId="2203963773" sldId="479"/>
            <ac:spMk id="3" creationId="{270385F3-2B23-48B0-B8D5-9087682CCE53}"/>
          </ac:spMkLst>
        </pc:spChg>
        <pc:spChg chg="del">
          <ac:chgData name="Oltmann, Mareike (DI MC MTS DG VAL)" userId="e9d180a7-92fa-4729-bbe0-3cd6fe0b20a6" providerId="ADAL" clId="{AD476B4C-CC52-40DA-870F-FC0BE6B3AEF1}" dt="2022-04-13T13:55:08.090" v="747" actId="478"/>
          <ac:spMkLst>
            <pc:docMk/>
            <pc:sldMk cId="2203963773" sldId="479"/>
            <ac:spMk id="16" creationId="{00000000-0000-0000-0000-000000000000}"/>
          </ac:spMkLst>
        </pc:spChg>
        <pc:spChg chg="mod">
          <ac:chgData name="Oltmann, Mareike (DI MC MTS DG VAL)" userId="e9d180a7-92fa-4729-bbe0-3cd6fe0b20a6" providerId="ADAL" clId="{AD476B4C-CC52-40DA-870F-FC0BE6B3AEF1}" dt="2022-05-20T09:18:19.700" v="5290"/>
          <ac:spMkLst>
            <pc:docMk/>
            <pc:sldMk cId="2203963773" sldId="479"/>
            <ac:spMk id="19" creationId="{1A45A6BD-C4C3-40FE-BDAF-CB1FE5DC16E6}"/>
          </ac:spMkLst>
        </pc:spChg>
        <pc:spChg chg="mod">
          <ac:chgData name="Oltmann, Mareike (DI MC MTS DG VAL)" userId="e9d180a7-92fa-4729-bbe0-3cd6fe0b20a6" providerId="ADAL" clId="{AD476B4C-CC52-40DA-870F-FC0BE6B3AEF1}" dt="2022-05-20T09:18:19.700" v="5290"/>
          <ac:spMkLst>
            <pc:docMk/>
            <pc:sldMk cId="2203963773" sldId="479"/>
            <ac:spMk id="20" creationId="{3FB817AC-C91F-4788-AEB6-9DBA21957B97}"/>
          </ac:spMkLst>
        </pc:spChg>
        <pc:spChg chg="mod">
          <ac:chgData name="Oltmann, Mareike (DI MC MTS DG VAL)" userId="e9d180a7-92fa-4729-bbe0-3cd6fe0b20a6" providerId="ADAL" clId="{AD476B4C-CC52-40DA-870F-FC0BE6B3AEF1}" dt="2022-05-20T09:18:19.700" v="5290"/>
          <ac:spMkLst>
            <pc:docMk/>
            <pc:sldMk cId="2203963773" sldId="479"/>
            <ac:spMk id="21" creationId="{00F251D9-D94B-47C9-9925-84CDF4D0592B}"/>
          </ac:spMkLst>
        </pc:spChg>
        <pc:spChg chg="add del mod">
          <ac:chgData name="Oltmann, Mareike (DI MC MTS DG VAL)" userId="e9d180a7-92fa-4729-bbe0-3cd6fe0b20a6" providerId="ADAL" clId="{AD476B4C-CC52-40DA-870F-FC0BE6B3AEF1}" dt="2022-05-20T09:18:10.200" v="5289" actId="478"/>
          <ac:spMkLst>
            <pc:docMk/>
            <pc:sldMk cId="2203963773" sldId="479"/>
            <ac:spMk id="119" creationId="{54EBA425-28B6-47E0-B26A-4E362481082C}"/>
          </ac:spMkLst>
        </pc:spChg>
        <pc:spChg chg="mod">
          <ac:chgData name="Oltmann, Mareike (DI MC MTS DG VAL)" userId="e9d180a7-92fa-4729-bbe0-3cd6fe0b20a6" providerId="ADAL" clId="{AD476B4C-CC52-40DA-870F-FC0BE6B3AEF1}" dt="2022-05-20T11:42:15.983" v="6237" actId="20577"/>
          <ac:spMkLst>
            <pc:docMk/>
            <pc:sldMk cId="2203963773" sldId="479"/>
            <ac:spMk id="147" creationId="{83996EAC-2F8D-49F8-885A-4C032CCF4B59}"/>
          </ac:spMkLst>
        </pc:spChg>
        <pc:grpChg chg="add del mod">
          <ac:chgData name="Oltmann, Mareike (DI MC MTS DG VAL)" userId="e9d180a7-92fa-4729-bbe0-3cd6fe0b20a6" providerId="ADAL" clId="{AD476B4C-CC52-40DA-870F-FC0BE6B3AEF1}" dt="2022-05-20T09:18:27.772" v="5291"/>
          <ac:grpSpMkLst>
            <pc:docMk/>
            <pc:sldMk cId="2203963773" sldId="479"/>
            <ac:grpSpMk id="17" creationId="{A9FFF3F0-824F-45C6-8728-8BAB08DE5D33}"/>
          </ac:grpSpMkLst>
        </pc:grpChg>
        <pc:grpChg chg="del">
          <ac:chgData name="Oltmann, Mareike (DI MC MTS DG VAL)" userId="e9d180a7-92fa-4729-bbe0-3cd6fe0b20a6" providerId="ADAL" clId="{AD476B4C-CC52-40DA-870F-FC0BE6B3AEF1}" dt="2022-04-13T13:55:11.595" v="748" actId="478"/>
          <ac:grpSpMkLst>
            <pc:docMk/>
            <pc:sldMk cId="2203963773" sldId="479"/>
            <ac:grpSpMk id="109" creationId="{FC53B08B-AA47-4206-8D28-4BB117F21D66}"/>
          </ac:grpSpMkLst>
        </pc:grpChg>
        <pc:picChg chg="add del mod ord modCrop">
          <ac:chgData name="Oltmann, Mareike (DI MC MTS DG VAL)" userId="e9d180a7-92fa-4729-bbe0-3cd6fe0b20a6" providerId="ADAL" clId="{AD476B4C-CC52-40DA-870F-FC0BE6B3AEF1}" dt="2022-05-20T11:43:19.978" v="6247" actId="14100"/>
          <ac:picMkLst>
            <pc:docMk/>
            <pc:sldMk cId="2203963773" sldId="479"/>
            <ac:picMk id="14" creationId="{FF82AB95-0071-4535-9F41-740AA8E9C78A}"/>
          </ac:picMkLst>
        </pc:picChg>
        <pc:picChg chg="add del mod ord modCrop">
          <ac:chgData name="Oltmann, Mareike (DI MC MTS DG VAL)" userId="e9d180a7-92fa-4729-bbe0-3cd6fe0b20a6" providerId="ADAL" clId="{AD476B4C-CC52-40DA-870F-FC0BE6B3AEF1}" dt="2022-05-20T11:43:19.978" v="6247" actId="14100"/>
          <ac:picMkLst>
            <pc:docMk/>
            <pc:sldMk cId="2203963773" sldId="479"/>
            <ac:picMk id="15" creationId="{C33A42C3-8EB0-442E-AB0C-A33768E5A4B7}"/>
          </ac:picMkLst>
        </pc:picChg>
        <pc:picChg chg="add del mod ord modCrop">
          <ac:chgData name="Oltmann, Mareike (DI MC MTS DG VAL)" userId="e9d180a7-92fa-4729-bbe0-3cd6fe0b20a6" providerId="ADAL" clId="{AD476B4C-CC52-40DA-870F-FC0BE6B3AEF1}" dt="2022-05-20T11:43:19.978" v="6247" actId="14100"/>
          <ac:picMkLst>
            <pc:docMk/>
            <pc:sldMk cId="2203963773" sldId="479"/>
            <ac:picMk id="16" creationId="{EA303F0E-A381-4E28-9844-411B20E3B27B}"/>
          </ac:picMkLst>
        </pc:picChg>
        <pc:picChg chg="mod">
          <ac:chgData name="Oltmann, Mareike (DI MC MTS DG VAL)" userId="e9d180a7-92fa-4729-bbe0-3cd6fe0b20a6" providerId="ADAL" clId="{AD476B4C-CC52-40DA-870F-FC0BE6B3AEF1}" dt="2022-05-20T09:18:19.700" v="5290"/>
          <ac:picMkLst>
            <pc:docMk/>
            <pc:sldMk cId="2203963773" sldId="479"/>
            <ac:picMk id="18" creationId="{14118B2A-ACDA-462E-A629-08690526E492}"/>
          </ac:picMkLst>
        </pc:picChg>
        <pc:picChg chg="add del mod">
          <ac:chgData name="Oltmann, Mareike (DI MC MTS DG VAL)" userId="e9d180a7-92fa-4729-bbe0-3cd6fe0b20a6" providerId="ADAL" clId="{AD476B4C-CC52-40DA-870F-FC0BE6B3AEF1}" dt="2022-05-20T10:37:54.151" v="5754" actId="478"/>
          <ac:picMkLst>
            <pc:docMk/>
            <pc:sldMk cId="2203963773" sldId="479"/>
            <ac:picMk id="22" creationId="{D93B5B73-5088-40FA-99C0-2C4A7B72ADCC}"/>
          </ac:picMkLst>
        </pc:picChg>
        <pc:picChg chg="del">
          <ac:chgData name="Oltmann, Mareike (DI MC MTS DG VAL)" userId="e9d180a7-92fa-4729-bbe0-3cd6fe0b20a6" providerId="ADAL" clId="{AD476B4C-CC52-40DA-870F-FC0BE6B3AEF1}" dt="2022-05-16T08:27:41.019" v="1728" actId="478"/>
          <ac:picMkLst>
            <pc:docMk/>
            <pc:sldMk cId="2203963773" sldId="479"/>
            <ac:picMk id="111" creationId="{4CBB1466-A17A-4199-9C2C-A14FA97F157B}"/>
          </ac:picMkLst>
        </pc:picChg>
        <pc:picChg chg="add mod">
          <ac:chgData name="Oltmann, Mareike (DI MC MTS DG VAL)" userId="e9d180a7-92fa-4729-bbe0-3cd6fe0b20a6" providerId="ADAL" clId="{AD476B4C-CC52-40DA-870F-FC0BE6B3AEF1}" dt="2022-05-20T10:38:50.026" v="5763" actId="1076"/>
          <ac:picMkLst>
            <pc:docMk/>
            <pc:sldMk cId="2203963773" sldId="479"/>
            <ac:picMk id="124" creationId="{45396844-2031-4BD6-8329-065F0E44FF13}"/>
          </ac:picMkLst>
        </pc:picChg>
        <pc:picChg chg="del">
          <ac:chgData name="Oltmann, Mareike (DI MC MTS DG VAL)" userId="e9d180a7-92fa-4729-bbe0-3cd6fe0b20a6" providerId="ADAL" clId="{AD476B4C-CC52-40DA-870F-FC0BE6B3AEF1}" dt="2022-04-13T13:55:11.595" v="748" actId="478"/>
          <ac:picMkLst>
            <pc:docMk/>
            <pc:sldMk cId="2203963773" sldId="479"/>
            <ac:picMk id="126" creationId="{00000000-0000-0000-0000-000000000000}"/>
          </ac:picMkLst>
        </pc:picChg>
        <pc:picChg chg="del">
          <ac:chgData name="Oltmann, Mareike (DI MC MTS DG VAL)" userId="e9d180a7-92fa-4729-bbe0-3cd6fe0b20a6" providerId="ADAL" clId="{AD476B4C-CC52-40DA-870F-FC0BE6B3AEF1}" dt="2022-04-13T13:55:11.595" v="748" actId="478"/>
          <ac:picMkLst>
            <pc:docMk/>
            <pc:sldMk cId="2203963773" sldId="479"/>
            <ac:picMk id="158" creationId="{00000000-0000-0000-0000-000000000000}"/>
          </ac:picMkLst>
        </pc:picChg>
        <pc:cxnChg chg="add del mod">
          <ac:chgData name="Oltmann, Mareike (DI MC MTS DG VAL)" userId="e9d180a7-92fa-4729-bbe0-3cd6fe0b20a6" providerId="ADAL" clId="{AD476B4C-CC52-40DA-870F-FC0BE6B3AEF1}" dt="2022-05-16T08:46:34.079" v="3622" actId="478"/>
          <ac:cxnSpMkLst>
            <pc:docMk/>
            <pc:sldMk cId="2203963773" sldId="479"/>
            <ac:cxnSpMk id="8" creationId="{0D0B8CFA-096B-4746-9E76-D3F050B4C3F4}"/>
          </ac:cxnSpMkLst>
        </pc:cxnChg>
        <pc:cxnChg chg="add del mod">
          <ac:chgData name="Oltmann, Mareike (DI MC MTS DG VAL)" userId="e9d180a7-92fa-4729-bbe0-3cd6fe0b20a6" providerId="ADAL" clId="{AD476B4C-CC52-40DA-870F-FC0BE6B3AEF1}" dt="2022-05-16T08:46:32.412" v="3621" actId="478"/>
          <ac:cxnSpMkLst>
            <pc:docMk/>
            <pc:sldMk cId="2203963773" sldId="479"/>
            <ac:cxnSpMk id="20" creationId="{AD65779E-5D40-4AFA-BDDC-9B164E40449F}"/>
          </ac:cxnSpMkLst>
        </pc:cxnChg>
      </pc:sldChg>
      <pc:sldChg chg="modSp add del mod modClrScheme modShow chgLayout">
        <pc:chgData name="Oltmann, Mareike (DI MC MTS DG VAL)" userId="e9d180a7-92fa-4729-bbe0-3cd6fe0b20a6" providerId="ADAL" clId="{AD476B4C-CC52-40DA-870F-FC0BE6B3AEF1}" dt="2022-05-17T05:13:02.097" v="4080" actId="47"/>
        <pc:sldMkLst>
          <pc:docMk/>
          <pc:sldMk cId="577085371" sldId="976"/>
        </pc:sldMkLst>
        <pc:spChg chg="mod ord">
          <ac:chgData name="Oltmann, Mareike (DI MC MTS DG VAL)" userId="e9d180a7-92fa-4729-bbe0-3cd6fe0b20a6" providerId="ADAL" clId="{AD476B4C-CC52-40DA-870F-FC0BE6B3AEF1}" dt="2022-05-16T09:25:52.041" v="3772"/>
          <ac:spMkLst>
            <pc:docMk/>
            <pc:sldMk cId="577085371" sldId="976"/>
            <ac:spMk id="5" creationId="{00000000-0000-0000-0000-000000000000}"/>
          </ac:spMkLst>
        </pc:spChg>
        <pc:spChg chg="mod">
          <ac:chgData name="Oltmann, Mareike (DI MC MTS DG VAL)" userId="e9d180a7-92fa-4729-bbe0-3cd6fe0b20a6" providerId="ADAL" clId="{AD476B4C-CC52-40DA-870F-FC0BE6B3AEF1}" dt="2022-05-16T09:26:09.185" v="3777" actId="1076"/>
          <ac:spMkLst>
            <pc:docMk/>
            <pc:sldMk cId="577085371" sldId="976"/>
            <ac:spMk id="36" creationId="{00000000-0000-0000-0000-000000000000}"/>
          </ac:spMkLst>
        </pc:spChg>
        <pc:spChg chg="mod">
          <ac:chgData name="Oltmann, Mareike (DI MC MTS DG VAL)" userId="e9d180a7-92fa-4729-bbe0-3cd6fe0b20a6" providerId="ADAL" clId="{AD476B4C-CC52-40DA-870F-FC0BE6B3AEF1}" dt="2022-05-16T09:26:36.232" v="3783" actId="1076"/>
          <ac:spMkLst>
            <pc:docMk/>
            <pc:sldMk cId="577085371" sldId="976"/>
            <ac:spMk id="41" creationId="{00000000-0000-0000-0000-000000000000}"/>
          </ac:spMkLst>
        </pc:spChg>
        <pc:spChg chg="mod">
          <ac:chgData name="Oltmann, Mareike (DI MC MTS DG VAL)" userId="e9d180a7-92fa-4729-bbe0-3cd6fe0b20a6" providerId="ADAL" clId="{AD476B4C-CC52-40DA-870F-FC0BE6B3AEF1}" dt="2022-05-16T09:26:21.827" v="3780" actId="1076"/>
          <ac:spMkLst>
            <pc:docMk/>
            <pc:sldMk cId="577085371" sldId="976"/>
            <ac:spMk id="42" creationId="{00000000-0000-0000-0000-000000000000}"/>
          </ac:spMkLst>
        </pc:spChg>
        <pc:picChg chg="mod">
          <ac:chgData name="Oltmann, Mareike (DI MC MTS DG VAL)" userId="e9d180a7-92fa-4729-bbe0-3cd6fe0b20a6" providerId="ADAL" clId="{AD476B4C-CC52-40DA-870F-FC0BE6B3AEF1}" dt="2022-05-16T09:26:25.553" v="3781" actId="1076"/>
          <ac:picMkLst>
            <pc:docMk/>
            <pc:sldMk cId="577085371" sldId="976"/>
            <ac:picMk id="29" creationId="{00000000-0000-0000-0000-000000000000}"/>
          </ac:picMkLst>
        </pc:picChg>
        <pc:picChg chg="mod">
          <ac:chgData name="Oltmann, Mareike (DI MC MTS DG VAL)" userId="e9d180a7-92fa-4729-bbe0-3cd6fe0b20a6" providerId="ADAL" clId="{AD476B4C-CC52-40DA-870F-FC0BE6B3AEF1}" dt="2022-05-16T09:26:04.967" v="3776" actId="1076"/>
          <ac:picMkLst>
            <pc:docMk/>
            <pc:sldMk cId="577085371" sldId="976"/>
            <ac:picMk id="31" creationId="{00000000-0000-0000-0000-000000000000}"/>
          </ac:picMkLst>
        </pc:picChg>
        <pc:picChg chg="mod">
          <ac:chgData name="Oltmann, Mareike (DI MC MTS DG VAL)" userId="e9d180a7-92fa-4729-bbe0-3cd6fe0b20a6" providerId="ADAL" clId="{AD476B4C-CC52-40DA-870F-FC0BE6B3AEF1}" dt="2022-05-16T09:26:14.467" v="3778" actId="1076"/>
          <ac:picMkLst>
            <pc:docMk/>
            <pc:sldMk cId="577085371" sldId="976"/>
            <ac:picMk id="33" creationId="{00000000-0000-0000-0000-000000000000}"/>
          </ac:picMkLst>
        </pc:picChg>
      </pc:sldChg>
      <pc:sldChg chg="addSp delSp modSp mod addCm delCm modCm modNotesTx">
        <pc:chgData name="Oltmann, Mareike (DI MC MTS DG VAL)" userId="e9d180a7-92fa-4729-bbe0-3cd6fe0b20a6" providerId="ADAL" clId="{AD476B4C-CC52-40DA-870F-FC0BE6B3AEF1}" dt="2022-05-20T11:40:17.443" v="6181"/>
        <pc:sldMkLst>
          <pc:docMk/>
          <pc:sldMk cId="3946614053" sldId="985"/>
        </pc:sldMkLst>
        <pc:spChg chg="add mod">
          <ac:chgData name="Oltmann, Mareike (DI MC MTS DG VAL)" userId="e9d180a7-92fa-4729-bbe0-3cd6fe0b20a6" providerId="ADAL" clId="{AD476B4C-CC52-40DA-870F-FC0BE6B3AEF1}" dt="2022-05-20T11:40:17.443" v="6181"/>
          <ac:spMkLst>
            <pc:docMk/>
            <pc:sldMk cId="3946614053" sldId="985"/>
            <ac:spMk id="7" creationId="{845E8591-094C-458E-BE2D-49D7EE6588DC}"/>
          </ac:spMkLst>
        </pc:spChg>
        <pc:spChg chg="add mod ord">
          <ac:chgData name="Oltmann, Mareike (DI MC MTS DG VAL)" userId="e9d180a7-92fa-4729-bbe0-3cd6fe0b20a6" providerId="ADAL" clId="{AD476B4C-CC52-40DA-870F-FC0BE6B3AEF1}" dt="2022-05-17T05:34:49.324" v="4296" actId="1076"/>
          <ac:spMkLst>
            <pc:docMk/>
            <pc:sldMk cId="3946614053" sldId="985"/>
            <ac:spMk id="8" creationId="{B8B9FEA1-5AAB-45F2-8F04-F346E56A4559}"/>
          </ac:spMkLst>
        </pc:spChg>
        <pc:spChg chg="del">
          <ac:chgData name="Oltmann, Mareike (DI MC MTS DG VAL)" userId="e9d180a7-92fa-4729-bbe0-3cd6fe0b20a6" providerId="ADAL" clId="{AD476B4C-CC52-40DA-870F-FC0BE6B3AEF1}" dt="2022-05-16T08:57:02.435" v="3639" actId="478"/>
          <ac:spMkLst>
            <pc:docMk/>
            <pc:sldMk cId="3946614053" sldId="985"/>
            <ac:spMk id="11" creationId="{00000000-0000-0000-0000-000000000000}"/>
          </ac:spMkLst>
        </pc:spChg>
        <pc:spChg chg="del mod">
          <ac:chgData name="Oltmann, Mareike (DI MC MTS DG VAL)" userId="e9d180a7-92fa-4729-bbe0-3cd6fe0b20a6" providerId="ADAL" clId="{AD476B4C-CC52-40DA-870F-FC0BE6B3AEF1}" dt="2022-04-13T14:45:02.911" v="854" actId="478"/>
          <ac:spMkLst>
            <pc:docMk/>
            <pc:sldMk cId="3946614053" sldId="985"/>
            <ac:spMk id="14" creationId="{E7D96803-773C-4F36-B42D-246D501DF4B2}"/>
          </ac:spMkLst>
        </pc:spChg>
        <pc:spChg chg="del mod">
          <ac:chgData name="Oltmann, Mareike (DI MC MTS DG VAL)" userId="e9d180a7-92fa-4729-bbe0-3cd6fe0b20a6" providerId="ADAL" clId="{AD476B4C-CC52-40DA-870F-FC0BE6B3AEF1}" dt="2022-05-16T08:56:59.683" v="3637" actId="478"/>
          <ac:spMkLst>
            <pc:docMk/>
            <pc:sldMk cId="3946614053" sldId="985"/>
            <ac:spMk id="18" creationId="{EA2D14DE-043A-42E1-8CFD-A5EB9B0412D8}"/>
          </ac:spMkLst>
        </pc:spChg>
        <pc:spChg chg="mod">
          <ac:chgData name="Oltmann, Mareike (DI MC MTS DG VAL)" userId="e9d180a7-92fa-4729-bbe0-3cd6fe0b20a6" providerId="ADAL" clId="{AD476B4C-CC52-40DA-870F-FC0BE6B3AEF1}" dt="2022-05-16T08:57:07.394" v="3640" actId="1076"/>
          <ac:spMkLst>
            <pc:docMk/>
            <pc:sldMk cId="3946614053" sldId="985"/>
            <ac:spMk id="22" creationId="{980F0221-5101-4C7F-8318-B1A9E145C8F6}"/>
          </ac:spMkLst>
        </pc:spChg>
        <pc:spChg chg="mod">
          <ac:chgData name="Oltmann, Mareike (DI MC MTS DG VAL)" userId="e9d180a7-92fa-4729-bbe0-3cd6fe0b20a6" providerId="ADAL" clId="{AD476B4C-CC52-40DA-870F-FC0BE6B3AEF1}" dt="2022-05-17T07:33:12.683" v="5058" actId="113"/>
          <ac:spMkLst>
            <pc:docMk/>
            <pc:sldMk cId="3946614053" sldId="985"/>
            <ac:spMk id="23" creationId="{5E1134AA-4EB7-4AE4-88D8-3502E0099F66}"/>
          </ac:spMkLst>
        </pc:spChg>
        <pc:spChg chg="add del mod">
          <ac:chgData name="Oltmann, Mareike (DI MC MTS DG VAL)" userId="e9d180a7-92fa-4729-bbe0-3cd6fe0b20a6" providerId="ADAL" clId="{AD476B4C-CC52-40DA-870F-FC0BE6B3AEF1}" dt="2022-05-16T08:18:21.372" v="1557" actId="478"/>
          <ac:spMkLst>
            <pc:docMk/>
            <pc:sldMk cId="3946614053" sldId="985"/>
            <ac:spMk id="25" creationId="{C5C5CB64-8757-4DA0-89C5-DC1FD9EEA884}"/>
          </ac:spMkLst>
        </pc:spChg>
        <pc:spChg chg="del">
          <ac:chgData name="Oltmann, Mareike (DI MC MTS DG VAL)" userId="e9d180a7-92fa-4729-bbe0-3cd6fe0b20a6" providerId="ADAL" clId="{AD476B4C-CC52-40DA-870F-FC0BE6B3AEF1}" dt="2022-05-16T08:18:17.433" v="1555" actId="478"/>
          <ac:spMkLst>
            <pc:docMk/>
            <pc:sldMk cId="3946614053" sldId="985"/>
            <ac:spMk id="109572" creationId="{00000000-0000-0000-0000-000000000000}"/>
          </ac:spMkLst>
        </pc:spChg>
        <pc:picChg chg="add del">
          <ac:chgData name="Oltmann, Mareike (DI MC MTS DG VAL)" userId="e9d180a7-92fa-4729-bbe0-3cd6fe0b20a6" providerId="ADAL" clId="{AD476B4C-CC52-40DA-870F-FC0BE6B3AEF1}" dt="2022-04-13T14:45:00.778" v="853" actId="478"/>
          <ac:picMkLst>
            <pc:docMk/>
            <pc:sldMk cId="3946614053" sldId="985"/>
            <ac:picMk id="13" creationId="{A149CB76-38F5-4E2A-96B0-A200873B7797}"/>
          </ac:picMkLst>
        </pc:picChg>
        <pc:picChg chg="add mod modCrop">
          <ac:chgData name="Oltmann, Mareike (DI MC MTS DG VAL)" userId="e9d180a7-92fa-4729-bbe0-3cd6fe0b20a6" providerId="ADAL" clId="{AD476B4C-CC52-40DA-870F-FC0BE6B3AEF1}" dt="2022-05-17T05:17:21.461" v="4105" actId="1076"/>
          <ac:picMkLst>
            <pc:docMk/>
            <pc:sldMk cId="3946614053" sldId="985"/>
            <ac:picMk id="16" creationId="{280A32CD-BDE6-4B20-8379-F17110ACD7D0}"/>
          </ac:picMkLst>
        </pc:picChg>
        <pc:picChg chg="add del mod">
          <ac:chgData name="Oltmann, Mareike (DI MC MTS DG VAL)" userId="e9d180a7-92fa-4729-bbe0-3cd6fe0b20a6" providerId="ADAL" clId="{AD476B4C-CC52-40DA-870F-FC0BE6B3AEF1}" dt="2022-04-13T14:19:09.718" v="842" actId="478"/>
          <ac:picMkLst>
            <pc:docMk/>
            <pc:sldMk cId="3946614053" sldId="985"/>
            <ac:picMk id="17" creationId="{B4E69B5D-9226-4634-9234-9C5B24D74F13}"/>
          </ac:picMkLst>
        </pc:picChg>
        <pc:picChg chg="add mod ord modCrop">
          <ac:chgData name="Oltmann, Mareike (DI MC MTS DG VAL)" userId="e9d180a7-92fa-4729-bbe0-3cd6fe0b20a6" providerId="ADAL" clId="{AD476B4C-CC52-40DA-870F-FC0BE6B3AEF1}" dt="2022-05-17T06:32:28.118" v="4636" actId="1076"/>
          <ac:picMkLst>
            <pc:docMk/>
            <pc:sldMk cId="3946614053" sldId="985"/>
            <ac:picMk id="20" creationId="{3C44C2BD-655D-446A-A559-C0AE20F93CD0}"/>
          </ac:picMkLst>
        </pc:picChg>
        <pc:picChg chg="add mod modCrop">
          <ac:chgData name="Oltmann, Mareike (DI MC MTS DG VAL)" userId="e9d180a7-92fa-4729-bbe0-3cd6fe0b20a6" providerId="ADAL" clId="{AD476B4C-CC52-40DA-870F-FC0BE6B3AEF1}" dt="2022-05-20T09:41:38.183" v="5532"/>
          <ac:picMkLst>
            <pc:docMk/>
            <pc:sldMk cId="3946614053" sldId="985"/>
            <ac:picMk id="21" creationId="{D2FD2D00-302D-4135-8DBA-7FA954024AD8}"/>
          </ac:picMkLst>
        </pc:picChg>
        <pc:cxnChg chg="del">
          <ac:chgData name="Oltmann, Mareike (DI MC MTS DG VAL)" userId="e9d180a7-92fa-4729-bbe0-3cd6fe0b20a6" providerId="ADAL" clId="{AD476B4C-CC52-40DA-870F-FC0BE6B3AEF1}" dt="2022-05-16T08:57:01.130" v="3638" actId="478"/>
          <ac:cxnSpMkLst>
            <pc:docMk/>
            <pc:sldMk cId="3946614053" sldId="985"/>
            <ac:cxnSpMk id="19" creationId="{A20163A6-CD09-4567-9C0E-6D561E248C0B}"/>
          </ac:cxnSpMkLst>
        </pc:cxnChg>
        <pc:cxnChg chg="mod">
          <ac:chgData name="Oltmann, Mareike (DI MC MTS DG VAL)" userId="e9d180a7-92fa-4729-bbe0-3cd6fe0b20a6" providerId="ADAL" clId="{AD476B4C-CC52-40DA-870F-FC0BE6B3AEF1}" dt="2022-05-16T08:57:15.523" v="3687" actId="1035"/>
          <ac:cxnSpMkLst>
            <pc:docMk/>
            <pc:sldMk cId="3946614053" sldId="985"/>
            <ac:cxnSpMk id="24" creationId="{68EC42FE-8C51-4CD5-85FA-57C3ABE41BC7}"/>
          </ac:cxnSpMkLst>
        </pc:cxnChg>
      </pc:sldChg>
      <pc:sldChg chg="modSp mod">
        <pc:chgData name="Oltmann, Mareike (DI MC MTS DG VAL)" userId="e9d180a7-92fa-4729-bbe0-3cd6fe0b20a6" providerId="ADAL" clId="{AD476B4C-CC52-40DA-870F-FC0BE6B3AEF1}" dt="2022-04-12T19:53:18.246" v="40" actId="20577"/>
        <pc:sldMkLst>
          <pc:docMk/>
          <pc:sldMk cId="3228718504" sldId="1040"/>
        </pc:sldMkLst>
        <pc:spChg chg="mod">
          <ac:chgData name="Oltmann, Mareike (DI MC MTS DG VAL)" userId="e9d180a7-92fa-4729-bbe0-3cd6fe0b20a6" providerId="ADAL" clId="{AD476B4C-CC52-40DA-870F-FC0BE6B3AEF1}" dt="2022-04-12T19:53:18.246" v="40" actId="20577"/>
          <ac:spMkLst>
            <pc:docMk/>
            <pc:sldMk cId="3228718504" sldId="1040"/>
            <ac:spMk id="8" creationId="{4D1EE4C3-41D8-4370-B406-F9BBA104F825}"/>
          </ac:spMkLst>
        </pc:spChg>
      </pc:sldChg>
      <pc:sldChg chg="addSp delSp modSp mod addCm delCm modCm">
        <pc:chgData name="Oltmann, Mareike (DI MC MTS DG VAL)" userId="e9d180a7-92fa-4729-bbe0-3cd6fe0b20a6" providerId="ADAL" clId="{AD476B4C-CC52-40DA-870F-FC0BE6B3AEF1}" dt="2022-09-27T11:22:58.285" v="6280" actId="1076"/>
        <pc:sldMkLst>
          <pc:docMk/>
          <pc:sldMk cId="3225545642" sldId="1041"/>
        </pc:sldMkLst>
        <pc:spChg chg="mod">
          <ac:chgData name="Oltmann, Mareike (DI MC MTS DG VAL)" userId="e9d180a7-92fa-4729-bbe0-3cd6fe0b20a6" providerId="ADAL" clId="{AD476B4C-CC52-40DA-870F-FC0BE6B3AEF1}" dt="2022-05-20T11:39:59.054" v="6179" actId="20577"/>
          <ac:spMkLst>
            <pc:docMk/>
            <pc:sldMk cId="3225545642" sldId="1041"/>
            <ac:spMk id="2" creationId="{98111AA2-3CBB-47E0-8C89-76EBC5B76A0A}"/>
          </ac:spMkLst>
        </pc:spChg>
        <pc:spChg chg="del mod">
          <ac:chgData name="Oltmann, Mareike (DI MC MTS DG VAL)" userId="e9d180a7-92fa-4729-bbe0-3cd6fe0b20a6" providerId="ADAL" clId="{AD476B4C-CC52-40DA-870F-FC0BE6B3AEF1}" dt="2022-05-20T08:50:42.584" v="5066" actId="478"/>
          <ac:spMkLst>
            <pc:docMk/>
            <pc:sldMk cId="3225545642" sldId="1041"/>
            <ac:spMk id="3" creationId="{7685D493-AD4B-44CB-B412-ED1354EB1544}"/>
          </ac:spMkLst>
        </pc:spChg>
        <pc:spChg chg="add mod">
          <ac:chgData name="Oltmann, Mareike (DI MC MTS DG VAL)" userId="e9d180a7-92fa-4729-bbe0-3cd6fe0b20a6" providerId="ADAL" clId="{AD476B4C-CC52-40DA-870F-FC0BE6B3AEF1}" dt="2022-05-17T07:26:02.084" v="5011" actId="164"/>
          <ac:spMkLst>
            <pc:docMk/>
            <pc:sldMk cId="3225545642" sldId="1041"/>
            <ac:spMk id="6" creationId="{ED5D4FF0-FDA5-4DAE-A6B3-B1D393861F3E}"/>
          </ac:spMkLst>
        </pc:spChg>
        <pc:spChg chg="mod">
          <ac:chgData name="Oltmann, Mareike (DI MC MTS DG VAL)" userId="e9d180a7-92fa-4729-bbe0-3cd6fe0b20a6" providerId="ADAL" clId="{AD476B4C-CC52-40DA-870F-FC0BE6B3AEF1}" dt="2022-06-17T11:17:54.705" v="6263" actId="1076"/>
          <ac:spMkLst>
            <pc:docMk/>
            <pc:sldMk cId="3225545642" sldId="1041"/>
            <ac:spMk id="15" creationId="{B335D7F3-776E-474D-8602-087C6139ADEB}"/>
          </ac:spMkLst>
        </pc:spChg>
        <pc:spChg chg="add mod">
          <ac:chgData name="Oltmann, Mareike (DI MC MTS DG VAL)" userId="e9d180a7-92fa-4729-bbe0-3cd6fe0b20a6" providerId="ADAL" clId="{AD476B4C-CC52-40DA-870F-FC0BE6B3AEF1}" dt="2022-05-17T07:26:02.084" v="5011" actId="164"/>
          <ac:spMkLst>
            <pc:docMk/>
            <pc:sldMk cId="3225545642" sldId="1041"/>
            <ac:spMk id="17" creationId="{81B12B84-29B1-40F7-89E5-ADFDA37937B2}"/>
          </ac:spMkLst>
        </pc:spChg>
        <pc:spChg chg="add mod">
          <ac:chgData name="Oltmann, Mareike (DI MC MTS DG VAL)" userId="e9d180a7-92fa-4729-bbe0-3cd6fe0b20a6" providerId="ADAL" clId="{AD476B4C-CC52-40DA-870F-FC0BE6B3AEF1}" dt="2022-05-17T07:26:02.084" v="5011" actId="164"/>
          <ac:spMkLst>
            <pc:docMk/>
            <pc:sldMk cId="3225545642" sldId="1041"/>
            <ac:spMk id="18" creationId="{6691710C-9496-43A1-B99C-AFF8C7F7D64E}"/>
          </ac:spMkLst>
        </pc:spChg>
        <pc:spChg chg="add del mod">
          <ac:chgData name="Oltmann, Mareike (DI MC MTS DG VAL)" userId="e9d180a7-92fa-4729-bbe0-3cd6fe0b20a6" providerId="ADAL" clId="{AD476B4C-CC52-40DA-870F-FC0BE6B3AEF1}" dt="2022-05-20T09:19:09.506" v="5299" actId="478"/>
          <ac:spMkLst>
            <pc:docMk/>
            <pc:sldMk cId="3225545642" sldId="1041"/>
            <ac:spMk id="19" creationId="{0D264CD3-9578-4AE8-A2CB-B925B2157B6F}"/>
          </ac:spMkLst>
        </pc:spChg>
        <pc:spChg chg="del">
          <ac:chgData name="Oltmann, Mareike (DI MC MTS DG VAL)" userId="e9d180a7-92fa-4729-bbe0-3cd6fe0b20a6" providerId="ADAL" clId="{AD476B4C-CC52-40DA-870F-FC0BE6B3AEF1}" dt="2022-04-13T13:54:02.428" v="740" actId="478"/>
          <ac:spMkLst>
            <pc:docMk/>
            <pc:sldMk cId="3225545642" sldId="1041"/>
            <ac:spMk id="30" creationId="{02BD5FCA-A2D0-4308-B4D3-BCAE4F86EA4E}"/>
          </ac:spMkLst>
        </pc:spChg>
        <pc:grpChg chg="add mod ord">
          <ac:chgData name="Oltmann, Mareike (DI MC MTS DG VAL)" userId="e9d180a7-92fa-4729-bbe0-3cd6fe0b20a6" providerId="ADAL" clId="{AD476B4C-CC52-40DA-870F-FC0BE6B3AEF1}" dt="2022-09-27T11:22:58.285" v="6280" actId="1076"/>
          <ac:grpSpMkLst>
            <pc:docMk/>
            <pc:sldMk cId="3225545642" sldId="1041"/>
            <ac:grpSpMk id="7" creationId="{987C2F5A-B3B3-4ABC-9C09-98C55C3DCA40}"/>
          </ac:grpSpMkLst>
        </pc:grpChg>
        <pc:graphicFrameChg chg="mod modGraphic">
          <ac:chgData name="Oltmann, Mareike (DI MC MTS DG VAL)" userId="e9d180a7-92fa-4729-bbe0-3cd6fe0b20a6" providerId="ADAL" clId="{AD476B4C-CC52-40DA-870F-FC0BE6B3AEF1}" dt="2022-08-04T09:37:16.964" v="6279" actId="20577"/>
          <ac:graphicFrameMkLst>
            <pc:docMk/>
            <pc:sldMk cId="3225545642" sldId="1041"/>
            <ac:graphicFrameMk id="10" creationId="{F02B6DB2-0D57-4592-BC60-FCF13DF4243F}"/>
          </ac:graphicFrameMkLst>
        </pc:graphicFrameChg>
        <pc:picChg chg="add del mod">
          <ac:chgData name="Oltmann, Mareike (DI MC MTS DG VAL)" userId="e9d180a7-92fa-4729-bbe0-3cd6fe0b20a6" providerId="ADAL" clId="{AD476B4C-CC52-40DA-870F-FC0BE6B3AEF1}" dt="2022-05-16T08:13:28.081" v="1528"/>
          <ac:picMkLst>
            <pc:docMk/>
            <pc:sldMk cId="3225545642" sldId="1041"/>
            <ac:picMk id="12" creationId="{2EBC4892-DC48-496A-92BA-A64BC2867850}"/>
          </ac:picMkLst>
        </pc:picChg>
        <pc:picChg chg="add del mod ord modCrop">
          <ac:chgData name="Oltmann, Mareike (DI MC MTS DG VAL)" userId="e9d180a7-92fa-4729-bbe0-3cd6fe0b20a6" providerId="ADAL" clId="{AD476B4C-CC52-40DA-870F-FC0BE6B3AEF1}" dt="2022-05-16T08:14:33.164" v="1542" actId="478"/>
          <ac:picMkLst>
            <pc:docMk/>
            <pc:sldMk cId="3225545642" sldId="1041"/>
            <ac:picMk id="13" creationId="{72B3F266-F745-4F6D-B66A-98000E9513CC}"/>
          </ac:picMkLst>
        </pc:picChg>
        <pc:picChg chg="add mod ord modCrop">
          <ac:chgData name="Oltmann, Mareike (DI MC MTS DG VAL)" userId="e9d180a7-92fa-4729-bbe0-3cd6fe0b20a6" providerId="ADAL" clId="{AD476B4C-CC52-40DA-870F-FC0BE6B3AEF1}" dt="2022-05-20T09:21:54.390" v="5314" actId="1076"/>
          <ac:picMkLst>
            <pc:docMk/>
            <pc:sldMk cId="3225545642" sldId="1041"/>
            <ac:picMk id="16" creationId="{1D56DB98-BB46-48AB-B354-DB38B92331B3}"/>
          </ac:picMkLst>
        </pc:picChg>
        <pc:picChg chg="add del mod">
          <ac:chgData name="Oltmann, Mareike (DI MC MTS DG VAL)" userId="e9d180a7-92fa-4729-bbe0-3cd6fe0b20a6" providerId="ADAL" clId="{AD476B4C-CC52-40DA-870F-FC0BE6B3AEF1}" dt="2022-04-13T13:54:06.806" v="742" actId="478"/>
          <ac:picMkLst>
            <pc:docMk/>
            <pc:sldMk cId="3225545642" sldId="1041"/>
            <ac:picMk id="16" creationId="{EB645FD2-1DB3-49AD-B86E-022ADF9D4060}"/>
          </ac:picMkLst>
        </pc:picChg>
        <pc:picChg chg="del">
          <ac:chgData name="Oltmann, Mareike (DI MC MTS DG VAL)" userId="e9d180a7-92fa-4729-bbe0-3cd6fe0b20a6" providerId="ADAL" clId="{AD476B4C-CC52-40DA-870F-FC0BE6B3AEF1}" dt="2022-04-13T13:53:11.429" v="729" actId="478"/>
          <ac:picMkLst>
            <pc:docMk/>
            <pc:sldMk cId="3225545642" sldId="1041"/>
            <ac:picMk id="27" creationId="{8ACCE14D-F082-4BA6-8E0E-E15B836CE00D}"/>
          </ac:picMkLst>
        </pc:picChg>
      </pc:sldChg>
      <pc:sldChg chg="addSp delSp modSp del mod">
        <pc:chgData name="Oltmann, Mareike (DI MC MTS DG VAL)" userId="e9d180a7-92fa-4729-bbe0-3cd6fe0b20a6" providerId="ADAL" clId="{AD476B4C-CC52-40DA-870F-FC0BE6B3AEF1}" dt="2022-05-17T05:11:59.126" v="4060" actId="47"/>
        <pc:sldMkLst>
          <pc:docMk/>
          <pc:sldMk cId="4071405581" sldId="1044"/>
        </pc:sldMkLst>
        <pc:spChg chg="add mod ord">
          <ac:chgData name="Oltmann, Mareike (DI MC MTS DG VAL)" userId="e9d180a7-92fa-4729-bbe0-3cd6fe0b20a6" providerId="ADAL" clId="{AD476B4C-CC52-40DA-870F-FC0BE6B3AEF1}" dt="2022-05-17T05:03:09.366" v="4009" actId="207"/>
          <ac:spMkLst>
            <pc:docMk/>
            <pc:sldMk cId="4071405581" sldId="1044"/>
            <ac:spMk id="2" creationId="{CF522565-C81B-4D73-BC26-2CA28EEC9F61}"/>
          </ac:spMkLst>
        </pc:spChg>
        <pc:spChg chg="add mod">
          <ac:chgData name="Oltmann, Mareike (DI MC MTS DG VAL)" userId="e9d180a7-92fa-4729-bbe0-3cd6fe0b20a6" providerId="ADAL" clId="{AD476B4C-CC52-40DA-870F-FC0BE6B3AEF1}" dt="2022-05-17T04:58:20.664" v="3981" actId="113"/>
          <ac:spMkLst>
            <pc:docMk/>
            <pc:sldMk cId="4071405581" sldId="1044"/>
            <ac:spMk id="7" creationId="{0BA8F332-AFC7-43FE-86C1-13D8AAC4D0E0}"/>
          </ac:spMkLst>
        </pc:spChg>
        <pc:spChg chg="del mod">
          <ac:chgData name="Oltmann, Mareike (DI MC MTS DG VAL)" userId="e9d180a7-92fa-4729-bbe0-3cd6fe0b20a6" providerId="ADAL" clId="{AD476B4C-CC52-40DA-870F-FC0BE6B3AEF1}" dt="2022-05-17T04:46:12.909" v="3796" actId="478"/>
          <ac:spMkLst>
            <pc:docMk/>
            <pc:sldMk cId="4071405581" sldId="1044"/>
            <ac:spMk id="18" creationId="{686569A1-5CCF-4AE1-BDED-618BD3E143C4}"/>
          </ac:spMkLst>
        </pc:spChg>
        <pc:spChg chg="add mod">
          <ac:chgData name="Oltmann, Mareike (DI MC MTS DG VAL)" userId="e9d180a7-92fa-4729-bbe0-3cd6fe0b20a6" providerId="ADAL" clId="{AD476B4C-CC52-40DA-870F-FC0BE6B3AEF1}" dt="2022-05-17T05:00:06.867" v="3992" actId="1076"/>
          <ac:spMkLst>
            <pc:docMk/>
            <pc:sldMk cId="4071405581" sldId="1044"/>
            <ac:spMk id="20" creationId="{6703BFF8-0342-436F-A222-85D686F80966}"/>
          </ac:spMkLst>
        </pc:spChg>
        <pc:spChg chg="del">
          <ac:chgData name="Oltmann, Mareike (DI MC MTS DG VAL)" userId="e9d180a7-92fa-4729-bbe0-3cd6fe0b20a6" providerId="ADAL" clId="{AD476B4C-CC52-40DA-870F-FC0BE6B3AEF1}" dt="2022-05-17T04:46:18.679" v="3798" actId="478"/>
          <ac:spMkLst>
            <pc:docMk/>
            <pc:sldMk cId="4071405581" sldId="1044"/>
            <ac:spMk id="21" creationId="{7BB5F3DD-F7A9-46AD-A050-414D2CBC2904}"/>
          </ac:spMkLst>
        </pc:spChg>
        <pc:spChg chg="add mod ord">
          <ac:chgData name="Oltmann, Mareike (DI MC MTS DG VAL)" userId="e9d180a7-92fa-4729-bbe0-3cd6fe0b20a6" providerId="ADAL" clId="{AD476B4C-CC52-40DA-870F-FC0BE6B3AEF1}" dt="2022-05-17T05:01:12.103" v="3997" actId="14100"/>
          <ac:spMkLst>
            <pc:docMk/>
            <pc:sldMk cId="4071405581" sldId="1044"/>
            <ac:spMk id="22" creationId="{E21FE92A-282A-4356-8F74-91FB0EF1EE01}"/>
          </ac:spMkLst>
        </pc:spChg>
        <pc:spChg chg="mod">
          <ac:chgData name="Oltmann, Mareike (DI MC MTS DG VAL)" userId="e9d180a7-92fa-4729-bbe0-3cd6fe0b20a6" providerId="ADAL" clId="{AD476B4C-CC52-40DA-870F-FC0BE6B3AEF1}" dt="2022-05-17T05:03:07.974" v="4007" actId="1076"/>
          <ac:spMkLst>
            <pc:docMk/>
            <pc:sldMk cId="4071405581" sldId="1044"/>
            <ac:spMk id="23" creationId="{F0BB36EB-FA4C-4815-8E57-7BC24C5054BF}"/>
          </ac:spMkLst>
        </pc:spChg>
        <pc:spChg chg="mod">
          <ac:chgData name="Oltmann, Mareike (DI MC MTS DG VAL)" userId="e9d180a7-92fa-4729-bbe0-3cd6fe0b20a6" providerId="ADAL" clId="{AD476B4C-CC52-40DA-870F-FC0BE6B3AEF1}" dt="2022-05-17T04:59:45.320" v="3989" actId="404"/>
          <ac:spMkLst>
            <pc:docMk/>
            <pc:sldMk cId="4071405581" sldId="1044"/>
            <ac:spMk id="24" creationId="{A61159FC-CCC2-45F8-878B-5EBCE491315F}"/>
          </ac:spMkLst>
        </pc:spChg>
        <pc:spChg chg="del">
          <ac:chgData name="Oltmann, Mareike (DI MC MTS DG VAL)" userId="e9d180a7-92fa-4729-bbe0-3cd6fe0b20a6" providerId="ADAL" clId="{AD476B4C-CC52-40DA-870F-FC0BE6B3AEF1}" dt="2022-05-17T04:44:34.654" v="3785" actId="478"/>
          <ac:spMkLst>
            <pc:docMk/>
            <pc:sldMk cId="4071405581" sldId="1044"/>
            <ac:spMk id="26" creationId="{635E0E57-2C52-42D9-910C-3511BD2EDC9C}"/>
          </ac:spMkLst>
        </pc:spChg>
        <pc:spChg chg="del">
          <ac:chgData name="Oltmann, Mareike (DI MC MTS DG VAL)" userId="e9d180a7-92fa-4729-bbe0-3cd6fe0b20a6" providerId="ADAL" clId="{AD476B4C-CC52-40DA-870F-FC0BE6B3AEF1}" dt="2022-05-17T04:44:39.695" v="3787" actId="478"/>
          <ac:spMkLst>
            <pc:docMk/>
            <pc:sldMk cId="4071405581" sldId="1044"/>
            <ac:spMk id="27" creationId="{452FCBE7-3725-4DF4-9B4E-FF9616B2907A}"/>
          </ac:spMkLst>
        </pc:spChg>
        <pc:spChg chg="add mod">
          <ac:chgData name="Oltmann, Mareike (DI MC MTS DG VAL)" userId="e9d180a7-92fa-4729-bbe0-3cd6fe0b20a6" providerId="ADAL" clId="{AD476B4C-CC52-40DA-870F-FC0BE6B3AEF1}" dt="2022-05-17T05:01:27.350" v="3999" actId="14100"/>
          <ac:spMkLst>
            <pc:docMk/>
            <pc:sldMk cId="4071405581" sldId="1044"/>
            <ac:spMk id="29" creationId="{3E37F0D1-C3AC-4B95-9A92-138B883F839A}"/>
          </ac:spMkLst>
        </pc:spChg>
        <pc:spChg chg="add mod">
          <ac:chgData name="Oltmann, Mareike (DI MC MTS DG VAL)" userId="e9d180a7-92fa-4729-bbe0-3cd6fe0b20a6" providerId="ADAL" clId="{AD476B4C-CC52-40DA-870F-FC0BE6B3AEF1}" dt="2022-05-17T05:03:10.107" v="4010" actId="207"/>
          <ac:spMkLst>
            <pc:docMk/>
            <pc:sldMk cId="4071405581" sldId="1044"/>
            <ac:spMk id="30" creationId="{D468DB09-996F-4458-930E-DF03EF0C1C11}"/>
          </ac:spMkLst>
        </pc:spChg>
        <pc:spChg chg="add mod">
          <ac:chgData name="Oltmann, Mareike (DI MC MTS DG VAL)" userId="e9d180a7-92fa-4729-bbe0-3cd6fe0b20a6" providerId="ADAL" clId="{AD476B4C-CC52-40DA-870F-FC0BE6B3AEF1}" dt="2022-05-17T05:03:10.107" v="4010" actId="207"/>
          <ac:spMkLst>
            <pc:docMk/>
            <pc:sldMk cId="4071405581" sldId="1044"/>
            <ac:spMk id="31" creationId="{02158E17-5BE1-4F74-8E5D-E8D1BB1F449A}"/>
          </ac:spMkLst>
        </pc:spChg>
        <pc:spChg chg="add mod">
          <ac:chgData name="Oltmann, Mareike (DI MC MTS DG VAL)" userId="e9d180a7-92fa-4729-bbe0-3cd6fe0b20a6" providerId="ADAL" clId="{AD476B4C-CC52-40DA-870F-FC0BE6B3AEF1}" dt="2022-05-17T04:59:41.397" v="3988" actId="571"/>
          <ac:spMkLst>
            <pc:docMk/>
            <pc:sldMk cId="4071405581" sldId="1044"/>
            <ac:spMk id="32" creationId="{9C1F9E2D-BF18-4F30-AF85-599255C8BAEC}"/>
          </ac:spMkLst>
        </pc:spChg>
        <pc:spChg chg="add mod">
          <ac:chgData name="Oltmann, Mareike (DI MC MTS DG VAL)" userId="e9d180a7-92fa-4729-bbe0-3cd6fe0b20a6" providerId="ADAL" clId="{AD476B4C-CC52-40DA-870F-FC0BE6B3AEF1}" dt="2022-05-17T04:59:41.397" v="3988" actId="571"/>
          <ac:spMkLst>
            <pc:docMk/>
            <pc:sldMk cId="4071405581" sldId="1044"/>
            <ac:spMk id="33" creationId="{A57C3994-8B3F-4375-9179-53761D5D84F1}"/>
          </ac:spMkLst>
        </pc:spChg>
        <pc:spChg chg="mod">
          <ac:chgData name="Oltmann, Mareike (DI MC MTS DG VAL)" userId="e9d180a7-92fa-4729-bbe0-3cd6fe0b20a6" providerId="ADAL" clId="{AD476B4C-CC52-40DA-870F-FC0BE6B3AEF1}" dt="2022-05-16T08:18:41.484" v="1562"/>
          <ac:spMkLst>
            <pc:docMk/>
            <pc:sldMk cId="4071405581" sldId="1044"/>
            <ac:spMk id="109572" creationId="{00000000-0000-0000-0000-000000000000}"/>
          </ac:spMkLst>
        </pc:spChg>
        <pc:picChg chg="del">
          <ac:chgData name="Oltmann, Mareike (DI MC MTS DG VAL)" userId="e9d180a7-92fa-4729-bbe0-3cd6fe0b20a6" providerId="ADAL" clId="{AD476B4C-CC52-40DA-870F-FC0BE6B3AEF1}" dt="2022-05-17T04:46:14.561" v="3797" actId="478"/>
          <ac:picMkLst>
            <pc:docMk/>
            <pc:sldMk cId="4071405581" sldId="1044"/>
            <ac:picMk id="17" creationId="{D3089A66-E3CB-41C7-BBE7-C3943C4C3FC9}"/>
          </ac:picMkLst>
        </pc:picChg>
        <pc:cxnChg chg="mod">
          <ac:chgData name="Oltmann, Mareike (DI MC MTS DG VAL)" userId="e9d180a7-92fa-4729-bbe0-3cd6fe0b20a6" providerId="ADAL" clId="{AD476B4C-CC52-40DA-870F-FC0BE6B3AEF1}" dt="2022-05-17T04:57:20.559" v="3941" actId="1035"/>
          <ac:cxnSpMkLst>
            <pc:docMk/>
            <pc:sldMk cId="4071405581" sldId="1044"/>
            <ac:cxnSpMk id="25" creationId="{0D810C57-0B1E-46B0-BBF8-A534D6D97379}"/>
          </ac:cxnSpMkLst>
        </pc:cxnChg>
        <pc:cxnChg chg="del">
          <ac:chgData name="Oltmann, Mareike (DI MC MTS DG VAL)" userId="e9d180a7-92fa-4729-bbe0-3cd6fe0b20a6" providerId="ADAL" clId="{AD476B4C-CC52-40DA-870F-FC0BE6B3AEF1}" dt="2022-05-17T04:44:36.694" v="3786" actId="478"/>
          <ac:cxnSpMkLst>
            <pc:docMk/>
            <pc:sldMk cId="4071405581" sldId="1044"/>
            <ac:cxnSpMk id="28" creationId="{1990C00B-9C28-4DAC-8935-4FF9BDE33951}"/>
          </ac:cxnSpMkLst>
        </pc:cxnChg>
      </pc:sldChg>
      <pc:sldChg chg="delSp mod">
        <pc:chgData name="Oltmann, Mareike (DI MC MTS DG VAL)" userId="e9d180a7-92fa-4729-bbe0-3cd6fe0b20a6" providerId="ADAL" clId="{AD476B4C-CC52-40DA-870F-FC0BE6B3AEF1}" dt="2022-05-16T08:54:47.992" v="3633" actId="478"/>
        <pc:sldMkLst>
          <pc:docMk/>
          <pc:sldMk cId="3875509059" sldId="4209"/>
        </pc:sldMkLst>
        <pc:spChg chg="del">
          <ac:chgData name="Oltmann, Mareike (DI MC MTS DG VAL)" userId="e9d180a7-92fa-4729-bbe0-3cd6fe0b20a6" providerId="ADAL" clId="{AD476B4C-CC52-40DA-870F-FC0BE6B3AEF1}" dt="2022-05-16T08:54:47.992" v="3633" actId="478"/>
          <ac:spMkLst>
            <pc:docMk/>
            <pc:sldMk cId="3875509059" sldId="4209"/>
            <ac:spMk id="9" creationId="{75E57CB4-821F-4A79-8EC5-2F003ED398D6}"/>
          </ac:spMkLst>
        </pc:spChg>
      </pc:sldChg>
      <pc:sldChg chg="modSp mod addCm delCm">
        <pc:chgData name="Oltmann, Mareike (DI MC MTS DG VAL)" userId="e9d180a7-92fa-4729-bbe0-3cd6fe0b20a6" providerId="ADAL" clId="{AD476B4C-CC52-40DA-870F-FC0BE6B3AEF1}" dt="2022-05-20T11:43:38.152" v="6248" actId="207"/>
        <pc:sldMkLst>
          <pc:docMk/>
          <pc:sldMk cId="1410649041" sldId="4210"/>
        </pc:sldMkLst>
        <pc:spChg chg="mod">
          <ac:chgData name="Oltmann, Mareike (DI MC MTS DG VAL)" userId="e9d180a7-92fa-4729-bbe0-3cd6fe0b20a6" providerId="ADAL" clId="{AD476B4C-CC52-40DA-870F-FC0BE6B3AEF1}" dt="2022-05-20T11:43:38.152" v="6248" actId="207"/>
          <ac:spMkLst>
            <pc:docMk/>
            <pc:sldMk cId="1410649041" sldId="4210"/>
            <ac:spMk id="6" creationId="{DA865AB3-8AE0-4AB0-94C2-2E517EC147DE}"/>
          </ac:spMkLst>
        </pc:spChg>
      </pc:sldChg>
      <pc:sldChg chg="del">
        <pc:chgData name="Oltmann, Mareike (DI MC MTS DG VAL)" userId="e9d180a7-92fa-4729-bbe0-3cd6fe0b20a6" providerId="ADAL" clId="{AD476B4C-CC52-40DA-870F-FC0BE6B3AEF1}" dt="2022-04-12T19:48:54.104" v="0" actId="47"/>
        <pc:sldMkLst>
          <pc:docMk/>
          <pc:sldMk cId="847785085" sldId="4211"/>
        </pc:sldMkLst>
      </pc:sldChg>
      <pc:sldChg chg="addSp delSp modSp mod modShow addCm delCm modCm">
        <pc:chgData name="Oltmann, Mareike (DI MC MTS DG VAL)" userId="e9d180a7-92fa-4729-bbe0-3cd6fe0b20a6" providerId="ADAL" clId="{AD476B4C-CC52-40DA-870F-FC0BE6B3AEF1}" dt="2022-06-20T12:34:58.030" v="6269" actId="20577"/>
        <pc:sldMkLst>
          <pc:docMk/>
          <pc:sldMk cId="3278793332" sldId="2142532503"/>
        </pc:sldMkLst>
        <pc:spChg chg="del mod">
          <ac:chgData name="Oltmann, Mareike (DI MC MTS DG VAL)" userId="e9d180a7-92fa-4729-bbe0-3cd6fe0b20a6" providerId="ADAL" clId="{AD476B4C-CC52-40DA-870F-FC0BE6B3AEF1}" dt="2022-05-17T06:11:17.896" v="4470" actId="478"/>
          <ac:spMkLst>
            <pc:docMk/>
            <pc:sldMk cId="3278793332" sldId="2142532503"/>
            <ac:spMk id="7" creationId="{021E83B6-28EA-4589-8D65-532B72004AD6}"/>
          </ac:spMkLst>
        </pc:spChg>
        <pc:spChg chg="mod">
          <ac:chgData name="Oltmann, Mareike (DI MC MTS DG VAL)" userId="e9d180a7-92fa-4729-bbe0-3cd6fe0b20a6" providerId="ADAL" clId="{AD476B4C-CC52-40DA-870F-FC0BE6B3AEF1}" dt="2022-06-20T12:34:58.030" v="6269" actId="20577"/>
          <ac:spMkLst>
            <pc:docMk/>
            <pc:sldMk cId="3278793332" sldId="2142532503"/>
            <ac:spMk id="8" creationId="{DCF35E38-EB7D-453C-8BF9-70680911CF1F}"/>
          </ac:spMkLst>
        </pc:spChg>
        <pc:spChg chg="del">
          <ac:chgData name="Oltmann, Mareike (DI MC MTS DG VAL)" userId="e9d180a7-92fa-4729-bbe0-3cd6fe0b20a6" providerId="ADAL" clId="{AD476B4C-CC52-40DA-870F-FC0BE6B3AEF1}" dt="2022-04-13T11:41:13.014" v="72" actId="478"/>
          <ac:spMkLst>
            <pc:docMk/>
            <pc:sldMk cId="3278793332" sldId="2142532503"/>
            <ac:spMk id="14" creationId="{71C8D48C-A161-4B00-A5E6-15DF75F3E819}"/>
          </ac:spMkLst>
        </pc:spChg>
        <pc:spChg chg="mod">
          <ac:chgData name="Oltmann, Mareike (DI MC MTS DG VAL)" userId="e9d180a7-92fa-4729-bbe0-3cd6fe0b20a6" providerId="ADAL" clId="{AD476B4C-CC52-40DA-870F-FC0BE6B3AEF1}" dt="2022-04-13T11:44:45.179" v="140" actId="20577"/>
          <ac:spMkLst>
            <pc:docMk/>
            <pc:sldMk cId="3278793332" sldId="2142532503"/>
            <ac:spMk id="15" creationId="{31467947-51FC-4B87-8426-E5B1A41E2DA9}"/>
          </ac:spMkLst>
        </pc:spChg>
        <pc:spChg chg="mod">
          <ac:chgData name="Oltmann, Mareike (DI MC MTS DG VAL)" userId="e9d180a7-92fa-4729-bbe0-3cd6fe0b20a6" providerId="ADAL" clId="{AD476B4C-CC52-40DA-870F-FC0BE6B3AEF1}" dt="2022-04-13T11:44:29.834" v="136" actId="20577"/>
          <ac:spMkLst>
            <pc:docMk/>
            <pc:sldMk cId="3278793332" sldId="2142532503"/>
            <ac:spMk id="16" creationId="{385A5518-5E52-4BCD-B7F3-96A74785728B}"/>
          </ac:spMkLst>
        </pc:spChg>
        <pc:spChg chg="mod">
          <ac:chgData name="Oltmann, Mareike (DI MC MTS DG VAL)" userId="e9d180a7-92fa-4729-bbe0-3cd6fe0b20a6" providerId="ADAL" clId="{AD476B4C-CC52-40DA-870F-FC0BE6B3AEF1}" dt="2022-05-17T06:05:16.805" v="4467" actId="20577"/>
          <ac:spMkLst>
            <pc:docMk/>
            <pc:sldMk cId="3278793332" sldId="2142532503"/>
            <ac:spMk id="22" creationId="{F8614E97-32F8-4D21-A327-E68A1A06C7C4}"/>
          </ac:spMkLst>
        </pc:spChg>
        <pc:spChg chg="mod">
          <ac:chgData name="Oltmann, Mareike (DI MC MTS DG VAL)" userId="e9d180a7-92fa-4729-bbe0-3cd6fe0b20a6" providerId="ADAL" clId="{AD476B4C-CC52-40DA-870F-FC0BE6B3AEF1}" dt="2022-05-16T08:00:12.286" v="1504" actId="1076"/>
          <ac:spMkLst>
            <pc:docMk/>
            <pc:sldMk cId="3278793332" sldId="2142532503"/>
            <ac:spMk id="23" creationId="{1E4AD0FC-E4E3-42BA-9329-5835A179F9A4}"/>
          </ac:spMkLst>
        </pc:spChg>
        <pc:grpChg chg="del mod">
          <ac:chgData name="Oltmann, Mareike (DI MC MTS DG VAL)" userId="e9d180a7-92fa-4729-bbe0-3cd6fe0b20a6" providerId="ADAL" clId="{AD476B4C-CC52-40DA-870F-FC0BE6B3AEF1}" dt="2022-05-17T05:52:26.447" v="4462" actId="478"/>
          <ac:grpSpMkLst>
            <pc:docMk/>
            <pc:sldMk cId="3278793332" sldId="2142532503"/>
            <ac:grpSpMk id="11" creationId="{47DB7ED7-9718-4B64-B1DE-92C0F4A92A13}"/>
          </ac:grpSpMkLst>
        </pc:grpChg>
        <pc:picChg chg="add del mod">
          <ac:chgData name="Oltmann, Mareike (DI MC MTS DG VAL)" userId="e9d180a7-92fa-4729-bbe0-3cd6fe0b20a6" providerId="ADAL" clId="{AD476B4C-CC52-40DA-870F-FC0BE6B3AEF1}" dt="2022-04-13T12:18:54.969" v="314" actId="478"/>
          <ac:picMkLst>
            <pc:docMk/>
            <pc:sldMk cId="3278793332" sldId="2142532503"/>
            <ac:picMk id="17" creationId="{8C3D1F51-D9BF-42FF-A138-9095015D71EA}"/>
          </ac:picMkLst>
        </pc:picChg>
        <pc:picChg chg="add del mod">
          <ac:chgData name="Oltmann, Mareike (DI MC MTS DG VAL)" userId="e9d180a7-92fa-4729-bbe0-3cd6fe0b20a6" providerId="ADAL" clId="{AD476B4C-CC52-40DA-870F-FC0BE6B3AEF1}" dt="2022-04-13T12:19:18.524" v="319" actId="478"/>
          <ac:picMkLst>
            <pc:docMk/>
            <pc:sldMk cId="3278793332" sldId="2142532503"/>
            <ac:picMk id="18" creationId="{06331EDA-9988-4F19-8BD1-61AC922A19D0}"/>
          </ac:picMkLst>
        </pc:picChg>
        <pc:picChg chg="add del mod modCrop">
          <ac:chgData name="Oltmann, Mareike (DI MC MTS DG VAL)" userId="e9d180a7-92fa-4729-bbe0-3cd6fe0b20a6" providerId="ADAL" clId="{AD476B4C-CC52-40DA-870F-FC0BE6B3AEF1}" dt="2022-04-13T13:52:31.061" v="727" actId="478"/>
          <ac:picMkLst>
            <pc:docMk/>
            <pc:sldMk cId="3278793332" sldId="2142532503"/>
            <ac:picMk id="19" creationId="{242EB25D-CEE9-42B3-A800-F62DC6DC4835}"/>
          </ac:picMkLst>
        </pc:picChg>
        <pc:picChg chg="del">
          <ac:chgData name="Oltmann, Mareike (DI MC MTS DG VAL)" userId="e9d180a7-92fa-4729-bbe0-3cd6fe0b20a6" providerId="ADAL" clId="{AD476B4C-CC52-40DA-870F-FC0BE6B3AEF1}" dt="2022-04-13T11:40:18.578" v="44" actId="478"/>
          <ac:picMkLst>
            <pc:docMk/>
            <pc:sldMk cId="3278793332" sldId="2142532503"/>
            <ac:picMk id="20" creationId="{EAACC156-5110-4FAA-A1B1-5861547F1A01}"/>
          </ac:picMkLst>
        </pc:picChg>
        <pc:picChg chg="add del mod modCrop">
          <ac:chgData name="Oltmann, Mareike (DI MC MTS DG VAL)" userId="e9d180a7-92fa-4729-bbe0-3cd6fe0b20a6" providerId="ADAL" clId="{AD476B4C-CC52-40DA-870F-FC0BE6B3AEF1}" dt="2022-04-13T13:52:22.206" v="724" actId="478"/>
          <ac:picMkLst>
            <pc:docMk/>
            <pc:sldMk cId="3278793332" sldId="2142532503"/>
            <ac:picMk id="21" creationId="{D557A1D2-2CE5-48B2-939D-B6CAADAFD532}"/>
          </ac:picMkLst>
        </pc:picChg>
        <pc:picChg chg="add mod">
          <ac:chgData name="Oltmann, Mareike (DI MC MTS DG VAL)" userId="e9d180a7-92fa-4729-bbe0-3cd6fe0b20a6" providerId="ADAL" clId="{AD476B4C-CC52-40DA-870F-FC0BE6B3AEF1}" dt="2022-05-17T05:52:50.965" v="4463" actId="1076"/>
          <ac:picMkLst>
            <pc:docMk/>
            <pc:sldMk cId="3278793332" sldId="2142532503"/>
            <ac:picMk id="24" creationId="{730C3939-0682-4B6D-96B6-FE837DCFF332}"/>
          </ac:picMkLst>
        </pc:picChg>
        <pc:picChg chg="add del mod">
          <ac:chgData name="Oltmann, Mareike (DI MC MTS DG VAL)" userId="e9d180a7-92fa-4729-bbe0-3cd6fe0b20a6" providerId="ADAL" clId="{AD476B4C-CC52-40DA-870F-FC0BE6B3AEF1}" dt="2022-04-13T14:44:29.390" v="851" actId="478"/>
          <ac:picMkLst>
            <pc:docMk/>
            <pc:sldMk cId="3278793332" sldId="2142532503"/>
            <ac:picMk id="25" creationId="{087C61FE-6FCE-49A2-8EBB-15353AFA40DD}"/>
          </ac:picMkLst>
        </pc:picChg>
      </pc:sldChg>
      <pc:sldChg chg="add del mod modShow">
        <pc:chgData name="Oltmann, Mareike (DI MC MTS DG VAL)" userId="e9d180a7-92fa-4729-bbe0-3cd6fe0b20a6" providerId="ADAL" clId="{AD476B4C-CC52-40DA-870F-FC0BE6B3AEF1}" dt="2022-05-17T06:40:37.491" v="4661" actId="47"/>
        <pc:sldMkLst>
          <pc:docMk/>
          <pc:sldMk cId="4007168909" sldId="2147375264"/>
        </pc:sldMkLst>
      </pc:sldChg>
      <pc:sldChg chg="addSp delSp modSp add mod modShow chgLayout">
        <pc:chgData name="Oltmann, Mareike (DI MC MTS DG VAL)" userId="e9d180a7-92fa-4729-bbe0-3cd6fe0b20a6" providerId="ADAL" clId="{AD476B4C-CC52-40DA-870F-FC0BE6B3AEF1}" dt="2022-05-20T11:44:44.584" v="6260" actId="478"/>
        <pc:sldMkLst>
          <pc:docMk/>
          <pc:sldMk cId="1543241090" sldId="2147375265"/>
        </pc:sldMkLst>
        <pc:spChg chg="add del mod ord">
          <ac:chgData name="Oltmann, Mareike (DI MC MTS DG VAL)" userId="e9d180a7-92fa-4729-bbe0-3cd6fe0b20a6" providerId="ADAL" clId="{AD476B4C-CC52-40DA-870F-FC0BE6B3AEF1}" dt="2022-05-20T11:41:03.590" v="6195" actId="478"/>
          <ac:spMkLst>
            <pc:docMk/>
            <pc:sldMk cId="1543241090" sldId="2147375265"/>
            <ac:spMk id="2" creationId="{00000000-0000-0000-0000-000000000000}"/>
          </ac:spMkLst>
        </pc:spChg>
        <pc:spChg chg="add del mod ord">
          <ac:chgData name="Oltmann, Mareike (DI MC MTS DG VAL)" userId="e9d180a7-92fa-4729-bbe0-3cd6fe0b20a6" providerId="ADAL" clId="{AD476B4C-CC52-40DA-870F-FC0BE6B3AEF1}" dt="2022-05-17T05:10:55.346" v="4057" actId="478"/>
          <ac:spMkLst>
            <pc:docMk/>
            <pc:sldMk cId="1543241090" sldId="2147375265"/>
            <ac:spMk id="3" creationId="{4F799147-5FD2-4DC4-97B2-DF33A0A29564}"/>
          </ac:spMkLst>
        </pc:spChg>
        <pc:spChg chg="mod ord">
          <ac:chgData name="Oltmann, Mareike (DI MC MTS DG VAL)" userId="e9d180a7-92fa-4729-bbe0-3cd6fe0b20a6" providerId="ADAL" clId="{AD476B4C-CC52-40DA-870F-FC0BE6B3AEF1}" dt="2022-05-20T11:41:01.911" v="6191"/>
          <ac:spMkLst>
            <pc:docMk/>
            <pc:sldMk cId="1543241090" sldId="2147375265"/>
            <ac:spMk id="4" creationId="{9DD988CD-1512-4540-B367-A87C98F9DC83}"/>
          </ac:spMkLst>
        </pc:spChg>
        <pc:spChg chg="mod ord">
          <ac:chgData name="Oltmann, Mareike (DI MC MTS DG VAL)" userId="e9d180a7-92fa-4729-bbe0-3cd6fe0b20a6" providerId="ADAL" clId="{AD476B4C-CC52-40DA-870F-FC0BE6B3AEF1}" dt="2022-05-20T11:41:01.911" v="6191"/>
          <ac:spMkLst>
            <pc:docMk/>
            <pc:sldMk cId="1543241090" sldId="2147375265"/>
            <ac:spMk id="5" creationId="{9C968BC9-C537-4BC4-B248-49DDB4B8EF2A}"/>
          </ac:spMkLst>
        </pc:spChg>
        <pc:spChg chg="add del mod">
          <ac:chgData name="Oltmann, Mareike (DI MC MTS DG VAL)" userId="e9d180a7-92fa-4729-bbe0-3cd6fe0b20a6" providerId="ADAL" clId="{AD476B4C-CC52-40DA-870F-FC0BE6B3AEF1}" dt="2022-05-20T11:41:03.590" v="6195" actId="478"/>
          <ac:spMkLst>
            <pc:docMk/>
            <pc:sldMk cId="1543241090" sldId="2147375265"/>
            <ac:spMk id="7" creationId="{DFA247E2-8094-4A26-92CD-474155D2F680}"/>
          </ac:spMkLst>
        </pc:spChg>
        <pc:spChg chg="add del mod">
          <ac:chgData name="Oltmann, Mareike (DI MC MTS DG VAL)" userId="e9d180a7-92fa-4729-bbe0-3cd6fe0b20a6" providerId="ADAL" clId="{AD476B4C-CC52-40DA-870F-FC0BE6B3AEF1}" dt="2022-05-20T11:41:01.911" v="6191"/>
          <ac:spMkLst>
            <pc:docMk/>
            <pc:sldMk cId="1543241090" sldId="2147375265"/>
            <ac:spMk id="8" creationId="{2D132DDD-A747-436F-9FA9-BAD2E0F9F2ED}"/>
          </ac:spMkLst>
        </pc:spChg>
        <pc:spChg chg="add del mod">
          <ac:chgData name="Oltmann, Mareike (DI MC MTS DG VAL)" userId="e9d180a7-92fa-4729-bbe0-3cd6fe0b20a6" providerId="ADAL" clId="{AD476B4C-CC52-40DA-870F-FC0BE6B3AEF1}" dt="2022-05-20T11:41:01.911" v="6191"/>
          <ac:spMkLst>
            <pc:docMk/>
            <pc:sldMk cId="1543241090" sldId="2147375265"/>
            <ac:spMk id="9" creationId="{88EB8E24-B4EC-46E0-8A1D-BBBE8445052A}"/>
          </ac:spMkLst>
        </pc:spChg>
        <pc:spChg chg="add del mod">
          <ac:chgData name="Oltmann, Mareike (DI MC MTS DG VAL)" userId="e9d180a7-92fa-4729-bbe0-3cd6fe0b20a6" providerId="ADAL" clId="{AD476B4C-CC52-40DA-870F-FC0BE6B3AEF1}" dt="2022-05-20T11:41:01.911" v="6191"/>
          <ac:spMkLst>
            <pc:docMk/>
            <pc:sldMk cId="1543241090" sldId="2147375265"/>
            <ac:spMk id="10" creationId="{E7E99578-94A2-4660-BC32-3F42F870068A}"/>
          </ac:spMkLst>
        </pc:spChg>
        <pc:spChg chg="add mod ord">
          <ac:chgData name="Oltmann, Mareike (DI MC MTS DG VAL)" userId="e9d180a7-92fa-4729-bbe0-3cd6fe0b20a6" providerId="ADAL" clId="{AD476B4C-CC52-40DA-870F-FC0BE6B3AEF1}" dt="2022-05-20T10:39:02.499" v="5765" actId="1038"/>
          <ac:spMkLst>
            <pc:docMk/>
            <pc:sldMk cId="1543241090" sldId="2147375265"/>
            <ac:spMk id="14" creationId="{55CFEC6D-F26E-4630-9F86-B4CA2DC0AFD7}"/>
          </ac:spMkLst>
        </pc:spChg>
        <pc:spChg chg="add mod">
          <ac:chgData name="Oltmann, Mareike (DI MC MTS DG VAL)" userId="e9d180a7-92fa-4729-bbe0-3cd6fe0b20a6" providerId="ADAL" clId="{AD476B4C-CC52-40DA-870F-FC0BE6B3AEF1}" dt="2022-05-20T10:39:02.499" v="5765" actId="1038"/>
          <ac:spMkLst>
            <pc:docMk/>
            <pc:sldMk cId="1543241090" sldId="2147375265"/>
            <ac:spMk id="15" creationId="{F823EE76-1908-45A3-A100-931E61125FC9}"/>
          </ac:spMkLst>
        </pc:spChg>
        <pc:spChg chg="add mod">
          <ac:chgData name="Oltmann, Mareike (DI MC MTS DG VAL)" userId="e9d180a7-92fa-4729-bbe0-3cd6fe0b20a6" providerId="ADAL" clId="{AD476B4C-CC52-40DA-870F-FC0BE6B3AEF1}" dt="2022-05-20T10:39:02.499" v="5765" actId="1038"/>
          <ac:spMkLst>
            <pc:docMk/>
            <pc:sldMk cId="1543241090" sldId="2147375265"/>
            <ac:spMk id="16" creationId="{FB797D11-E86F-4F1D-A6E8-7E5CE79CB037}"/>
          </ac:spMkLst>
        </pc:spChg>
        <pc:spChg chg="add mod">
          <ac:chgData name="Oltmann, Mareike (DI MC MTS DG VAL)" userId="e9d180a7-92fa-4729-bbe0-3cd6fe0b20a6" providerId="ADAL" clId="{AD476B4C-CC52-40DA-870F-FC0BE6B3AEF1}" dt="2022-05-20T10:39:02.499" v="5765" actId="1038"/>
          <ac:spMkLst>
            <pc:docMk/>
            <pc:sldMk cId="1543241090" sldId="2147375265"/>
            <ac:spMk id="17" creationId="{06B2F4DF-D567-45C5-A705-18C26CF11558}"/>
          </ac:spMkLst>
        </pc:spChg>
        <pc:spChg chg="add mod">
          <ac:chgData name="Oltmann, Mareike (DI MC MTS DG VAL)" userId="e9d180a7-92fa-4729-bbe0-3cd6fe0b20a6" providerId="ADAL" clId="{AD476B4C-CC52-40DA-870F-FC0BE6B3AEF1}" dt="2022-05-20T10:39:02.499" v="5765" actId="1038"/>
          <ac:spMkLst>
            <pc:docMk/>
            <pc:sldMk cId="1543241090" sldId="2147375265"/>
            <ac:spMk id="18" creationId="{9AC9ECBD-8BDF-456D-ACFC-D0420C5E453B}"/>
          </ac:spMkLst>
        </pc:spChg>
        <pc:spChg chg="add mod">
          <ac:chgData name="Oltmann, Mareike (DI MC MTS DG VAL)" userId="e9d180a7-92fa-4729-bbe0-3cd6fe0b20a6" providerId="ADAL" clId="{AD476B4C-CC52-40DA-870F-FC0BE6B3AEF1}" dt="2022-05-20T10:39:02.499" v="5765" actId="1038"/>
          <ac:spMkLst>
            <pc:docMk/>
            <pc:sldMk cId="1543241090" sldId="2147375265"/>
            <ac:spMk id="19" creationId="{A6FCD2F1-E8D8-4002-8AEE-7401886127F9}"/>
          </ac:spMkLst>
        </pc:spChg>
        <pc:spChg chg="add del mod">
          <ac:chgData name="Oltmann, Mareike (DI MC MTS DG VAL)" userId="e9d180a7-92fa-4729-bbe0-3cd6fe0b20a6" providerId="ADAL" clId="{AD476B4C-CC52-40DA-870F-FC0BE6B3AEF1}" dt="2022-05-20T11:41:03.043" v="6194"/>
          <ac:spMkLst>
            <pc:docMk/>
            <pc:sldMk cId="1543241090" sldId="2147375265"/>
            <ac:spMk id="20" creationId="{1B2467C8-C1B9-4476-A305-EE53C2EF21E4}"/>
          </ac:spMkLst>
        </pc:spChg>
        <pc:spChg chg="add del mod ord">
          <ac:chgData name="Oltmann, Mareike (DI MC MTS DG VAL)" userId="e9d180a7-92fa-4729-bbe0-3cd6fe0b20a6" providerId="ADAL" clId="{AD476B4C-CC52-40DA-870F-FC0BE6B3AEF1}" dt="2022-05-17T05:10:52.244" v="4056"/>
          <ac:spMkLst>
            <pc:docMk/>
            <pc:sldMk cId="1543241090" sldId="2147375265"/>
            <ac:spMk id="21" creationId="{AF676100-8D08-47BA-B592-97698E7A173B}"/>
          </ac:spMkLst>
        </pc:spChg>
        <pc:spChg chg="del">
          <ac:chgData name="Oltmann, Mareike (DI MC MTS DG VAL)" userId="e9d180a7-92fa-4729-bbe0-3cd6fe0b20a6" providerId="ADAL" clId="{AD476B4C-CC52-40DA-870F-FC0BE6B3AEF1}" dt="2022-05-16T08:23:10.015" v="1712" actId="478"/>
          <ac:spMkLst>
            <pc:docMk/>
            <pc:sldMk cId="1543241090" sldId="2147375265"/>
            <ac:spMk id="119" creationId="{54EBA425-28B6-47E0-B26A-4E362481082C}"/>
          </ac:spMkLst>
        </pc:spChg>
        <pc:spChg chg="mod">
          <ac:chgData name="Oltmann, Mareike (DI MC MTS DG VAL)" userId="e9d180a7-92fa-4729-bbe0-3cd6fe0b20a6" providerId="ADAL" clId="{AD476B4C-CC52-40DA-870F-FC0BE6B3AEF1}" dt="2022-05-17T05:06:59" v="4014" actId="1076"/>
          <ac:spMkLst>
            <pc:docMk/>
            <pc:sldMk cId="1543241090" sldId="2147375265"/>
            <ac:spMk id="125" creationId="{7978D5EE-A1A8-4A0D-A761-4ACC5629442E}"/>
          </ac:spMkLst>
        </pc:spChg>
        <pc:spChg chg="del mod">
          <ac:chgData name="Oltmann, Mareike (DI MC MTS DG VAL)" userId="e9d180a7-92fa-4729-bbe0-3cd6fe0b20a6" providerId="ADAL" clId="{AD476B4C-CC52-40DA-870F-FC0BE6B3AEF1}" dt="2022-05-17T05:06:53.051" v="4012" actId="478"/>
          <ac:spMkLst>
            <pc:docMk/>
            <pc:sldMk cId="1543241090" sldId="2147375265"/>
            <ac:spMk id="147" creationId="{83996EAC-2F8D-49F8-885A-4C032CCF4B59}"/>
          </ac:spMkLst>
        </pc:spChg>
        <pc:picChg chg="del">
          <ac:chgData name="Oltmann, Mareike (DI MC MTS DG VAL)" userId="e9d180a7-92fa-4729-bbe0-3cd6fe0b20a6" providerId="ADAL" clId="{AD476B4C-CC52-40DA-870F-FC0BE6B3AEF1}" dt="2022-05-16T08:23:08.223" v="1711" actId="478"/>
          <ac:picMkLst>
            <pc:docMk/>
            <pc:sldMk cId="1543241090" sldId="2147375265"/>
            <ac:picMk id="111" creationId="{4CBB1466-A17A-4199-9C2C-A14FA97F157B}"/>
          </ac:picMkLst>
        </pc:picChg>
        <pc:picChg chg="del mod">
          <ac:chgData name="Oltmann, Mareike (DI MC MTS DG VAL)" userId="e9d180a7-92fa-4729-bbe0-3cd6fe0b20a6" providerId="ADAL" clId="{AD476B4C-CC52-40DA-870F-FC0BE6B3AEF1}" dt="2022-05-20T11:44:44.584" v="6260" actId="478"/>
          <ac:picMkLst>
            <pc:docMk/>
            <pc:sldMk cId="1543241090" sldId="2147375265"/>
            <ac:picMk id="123" creationId="{CD43D9EB-7027-4B73-8EF4-6F03AE25AD8C}"/>
          </ac:picMkLst>
        </pc:picChg>
        <pc:picChg chg="del mod">
          <ac:chgData name="Oltmann, Mareike (DI MC MTS DG VAL)" userId="e9d180a7-92fa-4729-bbe0-3cd6fe0b20a6" providerId="ADAL" clId="{AD476B4C-CC52-40DA-870F-FC0BE6B3AEF1}" dt="2022-05-16T08:23:26.240" v="1714" actId="478"/>
          <ac:picMkLst>
            <pc:docMk/>
            <pc:sldMk cId="1543241090" sldId="2147375265"/>
            <ac:picMk id="124" creationId="{45396844-2031-4BD6-8329-065F0E44FF13}"/>
          </ac:picMkLst>
        </pc:picChg>
        <pc:cxnChg chg="mod">
          <ac:chgData name="Oltmann, Mareike (DI MC MTS DG VAL)" userId="e9d180a7-92fa-4729-bbe0-3cd6fe0b20a6" providerId="ADAL" clId="{AD476B4C-CC52-40DA-870F-FC0BE6B3AEF1}" dt="2022-05-20T10:39:02.499" v="5765" actId="1038"/>
          <ac:cxnSpMkLst>
            <pc:docMk/>
            <pc:sldMk cId="1543241090" sldId="2147375265"/>
            <ac:cxnSpMk id="127" creationId="{CC33913C-BDD9-47B2-A0A2-BE44284935B1}"/>
          </ac:cxnSpMkLst>
        </pc:cxnChg>
      </pc:sldChg>
      <pc:sldChg chg="addSp delSp modSp add mod">
        <pc:chgData name="Oltmann, Mareike (DI MC MTS DG VAL)" userId="e9d180a7-92fa-4729-bbe0-3cd6fe0b20a6" providerId="ADAL" clId="{AD476B4C-CC52-40DA-870F-FC0BE6B3AEF1}" dt="2022-05-20T11:44:16.774" v="6258" actId="20577"/>
        <pc:sldMkLst>
          <pc:docMk/>
          <pc:sldMk cId="3947047718" sldId="2147375266"/>
        </pc:sldMkLst>
        <pc:spChg chg="add del mod">
          <ac:chgData name="Oltmann, Mareike (DI MC MTS DG VAL)" userId="e9d180a7-92fa-4729-bbe0-3cd6fe0b20a6" providerId="ADAL" clId="{AD476B4C-CC52-40DA-870F-FC0BE6B3AEF1}" dt="2022-05-20T11:39:20.023" v="6160" actId="478"/>
          <ac:spMkLst>
            <pc:docMk/>
            <pc:sldMk cId="3947047718" sldId="2147375266"/>
            <ac:spMk id="10" creationId="{0D48A43E-FB1E-45C7-98B7-046F9494D271}"/>
          </ac:spMkLst>
        </pc:spChg>
        <pc:spChg chg="del">
          <ac:chgData name="Oltmann, Mareike (DI MC MTS DG VAL)" userId="e9d180a7-92fa-4729-bbe0-3cd6fe0b20a6" providerId="ADAL" clId="{AD476B4C-CC52-40DA-870F-FC0BE6B3AEF1}" dt="2022-05-20T09:43:33.902" v="5543" actId="478"/>
          <ac:spMkLst>
            <pc:docMk/>
            <pc:sldMk cId="3947047718" sldId="2147375266"/>
            <ac:spMk id="18" creationId="{686569A1-5CCF-4AE1-BDED-618BD3E143C4}"/>
          </ac:spMkLst>
        </pc:spChg>
        <pc:spChg chg="add del">
          <ac:chgData name="Oltmann, Mareike (DI MC MTS DG VAL)" userId="e9d180a7-92fa-4729-bbe0-3cd6fe0b20a6" providerId="ADAL" clId="{AD476B4C-CC52-40DA-870F-FC0BE6B3AEF1}" dt="2022-05-20T09:08:24.109" v="5166" actId="478"/>
          <ac:spMkLst>
            <pc:docMk/>
            <pc:sldMk cId="3947047718" sldId="2147375266"/>
            <ac:spMk id="20" creationId="{9C6D8E7D-0798-4F48-9C04-39BC3D29B10E}"/>
          </ac:spMkLst>
        </pc:spChg>
        <pc:spChg chg="del">
          <ac:chgData name="Oltmann, Mareike (DI MC MTS DG VAL)" userId="e9d180a7-92fa-4729-bbe0-3cd6fe0b20a6" providerId="ADAL" clId="{AD476B4C-CC52-40DA-870F-FC0BE6B3AEF1}" dt="2022-05-20T09:43:42.649" v="5546" actId="478"/>
          <ac:spMkLst>
            <pc:docMk/>
            <pc:sldMk cId="3947047718" sldId="2147375266"/>
            <ac:spMk id="21" creationId="{7BB5F3DD-F7A9-46AD-A050-414D2CBC2904}"/>
          </ac:spMkLst>
        </pc:spChg>
        <pc:spChg chg="add mod ord">
          <ac:chgData name="Oltmann, Mareike (DI MC MTS DG VAL)" userId="e9d180a7-92fa-4729-bbe0-3cd6fe0b20a6" providerId="ADAL" clId="{AD476B4C-CC52-40DA-870F-FC0BE6B3AEF1}" dt="2022-05-20T09:09:02.913" v="5184" actId="20577"/>
          <ac:spMkLst>
            <pc:docMk/>
            <pc:sldMk cId="3947047718" sldId="2147375266"/>
            <ac:spMk id="22" creationId="{62D89CB8-417C-4AD2-8C88-CC0F19F4558A}"/>
          </ac:spMkLst>
        </pc:spChg>
        <pc:spChg chg="del">
          <ac:chgData name="Oltmann, Mareike (DI MC MTS DG VAL)" userId="e9d180a7-92fa-4729-bbe0-3cd6fe0b20a6" providerId="ADAL" clId="{AD476B4C-CC52-40DA-870F-FC0BE6B3AEF1}" dt="2022-05-20T09:08:00.032" v="5091" actId="478"/>
          <ac:spMkLst>
            <pc:docMk/>
            <pc:sldMk cId="3947047718" sldId="2147375266"/>
            <ac:spMk id="23" creationId="{F0BB36EB-FA4C-4815-8E57-7BC24C5054BF}"/>
          </ac:spMkLst>
        </pc:spChg>
        <pc:spChg chg="del">
          <ac:chgData name="Oltmann, Mareike (DI MC MTS DG VAL)" userId="e9d180a7-92fa-4729-bbe0-3cd6fe0b20a6" providerId="ADAL" clId="{AD476B4C-CC52-40DA-870F-FC0BE6B3AEF1}" dt="2022-05-20T09:07:58.575" v="5090" actId="478"/>
          <ac:spMkLst>
            <pc:docMk/>
            <pc:sldMk cId="3947047718" sldId="2147375266"/>
            <ac:spMk id="24" creationId="{A61159FC-CCC2-45F8-878B-5EBCE491315F}"/>
          </ac:spMkLst>
        </pc:spChg>
        <pc:spChg chg="del mod">
          <ac:chgData name="Oltmann, Mareike (DI MC MTS DG VAL)" userId="e9d180a7-92fa-4729-bbe0-3cd6fe0b20a6" providerId="ADAL" clId="{AD476B4C-CC52-40DA-870F-FC0BE6B3AEF1}" dt="2022-05-20T09:08:42.612" v="5169" actId="478"/>
          <ac:spMkLst>
            <pc:docMk/>
            <pc:sldMk cId="3947047718" sldId="2147375266"/>
            <ac:spMk id="26" creationId="{635E0E57-2C52-42D9-910C-3511BD2EDC9C}"/>
          </ac:spMkLst>
        </pc:spChg>
        <pc:spChg chg="mod">
          <ac:chgData name="Oltmann, Mareike (DI MC MTS DG VAL)" userId="e9d180a7-92fa-4729-bbe0-3cd6fe0b20a6" providerId="ADAL" clId="{AD476B4C-CC52-40DA-870F-FC0BE6B3AEF1}" dt="2022-05-20T11:44:16.774" v="6258" actId="20577"/>
          <ac:spMkLst>
            <pc:docMk/>
            <pc:sldMk cId="3947047718" sldId="2147375266"/>
            <ac:spMk id="27" creationId="{452FCBE7-3725-4DF4-9B4E-FF9616B2907A}"/>
          </ac:spMkLst>
        </pc:spChg>
        <pc:spChg chg="add del mod">
          <ac:chgData name="Oltmann, Mareike (DI MC MTS DG VAL)" userId="e9d180a7-92fa-4729-bbe0-3cd6fe0b20a6" providerId="ADAL" clId="{AD476B4C-CC52-40DA-870F-FC0BE6B3AEF1}" dt="2022-05-20T09:09:24.399" v="5195" actId="478"/>
          <ac:spMkLst>
            <pc:docMk/>
            <pc:sldMk cId="3947047718" sldId="2147375266"/>
            <ac:spMk id="30" creationId="{3F27E46B-8A9D-47C7-BF94-7A2F7363CEB4}"/>
          </ac:spMkLst>
        </pc:spChg>
        <pc:spChg chg="mod">
          <ac:chgData name="Oltmann, Mareike (DI MC MTS DG VAL)" userId="e9d180a7-92fa-4729-bbe0-3cd6fe0b20a6" providerId="ADAL" clId="{AD476B4C-CC52-40DA-870F-FC0BE6B3AEF1}" dt="2022-05-20T09:43:34.438" v="5544"/>
          <ac:spMkLst>
            <pc:docMk/>
            <pc:sldMk cId="3947047718" sldId="2147375266"/>
            <ac:spMk id="36" creationId="{515D4A2E-9A2D-41FA-B600-1CB1CCF8C0C4}"/>
          </ac:spMkLst>
        </pc:spChg>
        <pc:spChg chg="mod">
          <ac:chgData name="Oltmann, Mareike (DI MC MTS DG VAL)" userId="e9d180a7-92fa-4729-bbe0-3cd6fe0b20a6" providerId="ADAL" clId="{AD476B4C-CC52-40DA-870F-FC0BE6B3AEF1}" dt="2022-05-20T09:43:34.438" v="5544"/>
          <ac:spMkLst>
            <pc:docMk/>
            <pc:sldMk cId="3947047718" sldId="2147375266"/>
            <ac:spMk id="37" creationId="{29C1DE4E-EFFC-4514-B8C0-D5D06467D4C9}"/>
          </ac:spMkLst>
        </pc:spChg>
        <pc:spChg chg="mod">
          <ac:chgData name="Oltmann, Mareike (DI MC MTS DG VAL)" userId="e9d180a7-92fa-4729-bbe0-3cd6fe0b20a6" providerId="ADAL" clId="{AD476B4C-CC52-40DA-870F-FC0BE6B3AEF1}" dt="2022-05-20T09:43:34.438" v="5544"/>
          <ac:spMkLst>
            <pc:docMk/>
            <pc:sldMk cId="3947047718" sldId="2147375266"/>
            <ac:spMk id="38" creationId="{1BFA028F-B368-4FCA-AA4D-BD9AF3F15A2F}"/>
          </ac:spMkLst>
        </pc:spChg>
        <pc:spChg chg="mod">
          <ac:chgData name="Oltmann, Mareike (DI MC MTS DG VAL)" userId="e9d180a7-92fa-4729-bbe0-3cd6fe0b20a6" providerId="ADAL" clId="{AD476B4C-CC52-40DA-870F-FC0BE6B3AEF1}" dt="2022-05-20T10:25:13.561" v="5742" actId="1076"/>
          <ac:spMkLst>
            <pc:docMk/>
            <pc:sldMk cId="3947047718" sldId="2147375266"/>
            <ac:spMk id="48" creationId="{9E4A8B82-FEFF-4872-A8BF-39943A43390C}"/>
          </ac:spMkLst>
        </pc:spChg>
        <pc:spChg chg="mod">
          <ac:chgData name="Oltmann, Mareike (DI MC MTS DG VAL)" userId="e9d180a7-92fa-4729-bbe0-3cd6fe0b20a6" providerId="ADAL" clId="{AD476B4C-CC52-40DA-870F-FC0BE6B3AEF1}" dt="2022-05-20T10:25:13.561" v="5742" actId="1076"/>
          <ac:spMkLst>
            <pc:docMk/>
            <pc:sldMk cId="3947047718" sldId="2147375266"/>
            <ac:spMk id="49" creationId="{33E8F722-D374-4E24-B721-FD3DCDC6A55F}"/>
          </ac:spMkLst>
        </pc:spChg>
        <pc:spChg chg="mod">
          <ac:chgData name="Oltmann, Mareike (DI MC MTS DG VAL)" userId="e9d180a7-92fa-4729-bbe0-3cd6fe0b20a6" providerId="ADAL" clId="{AD476B4C-CC52-40DA-870F-FC0BE6B3AEF1}" dt="2022-05-20T10:25:13.561" v="5742" actId="1076"/>
          <ac:spMkLst>
            <pc:docMk/>
            <pc:sldMk cId="3947047718" sldId="2147375266"/>
            <ac:spMk id="50" creationId="{812BC06C-79F0-41E4-B34E-A3075D682ECA}"/>
          </ac:spMkLst>
        </pc:spChg>
        <pc:spChg chg="mod">
          <ac:chgData name="Oltmann, Mareike (DI MC MTS DG VAL)" userId="e9d180a7-92fa-4729-bbe0-3cd6fe0b20a6" providerId="ADAL" clId="{AD476B4C-CC52-40DA-870F-FC0BE6B3AEF1}" dt="2022-05-20T10:25:13.561" v="5742" actId="1076"/>
          <ac:spMkLst>
            <pc:docMk/>
            <pc:sldMk cId="3947047718" sldId="2147375266"/>
            <ac:spMk id="51" creationId="{49F07736-EBFB-48DB-B0E6-1ABABFAF5A87}"/>
          </ac:spMkLst>
        </pc:spChg>
        <pc:spChg chg="mod">
          <ac:chgData name="Oltmann, Mareike (DI MC MTS DG VAL)" userId="e9d180a7-92fa-4729-bbe0-3cd6fe0b20a6" providerId="ADAL" clId="{AD476B4C-CC52-40DA-870F-FC0BE6B3AEF1}" dt="2022-05-20T10:25:13.561" v="5742" actId="1076"/>
          <ac:spMkLst>
            <pc:docMk/>
            <pc:sldMk cId="3947047718" sldId="2147375266"/>
            <ac:spMk id="52" creationId="{FFF57321-54D7-4CD1-897E-09490A60F06F}"/>
          </ac:spMkLst>
        </pc:spChg>
        <pc:spChg chg="mod">
          <ac:chgData name="Oltmann, Mareike (DI MC MTS DG VAL)" userId="e9d180a7-92fa-4729-bbe0-3cd6fe0b20a6" providerId="ADAL" clId="{AD476B4C-CC52-40DA-870F-FC0BE6B3AEF1}" dt="2022-05-20T10:25:13.561" v="5742" actId="1076"/>
          <ac:spMkLst>
            <pc:docMk/>
            <pc:sldMk cId="3947047718" sldId="2147375266"/>
            <ac:spMk id="54" creationId="{2DFEB183-E38F-48CB-86B4-B18655E99608}"/>
          </ac:spMkLst>
        </pc:spChg>
        <pc:spChg chg="mod">
          <ac:chgData name="Oltmann, Mareike (DI MC MTS DG VAL)" userId="e9d180a7-92fa-4729-bbe0-3cd6fe0b20a6" providerId="ADAL" clId="{AD476B4C-CC52-40DA-870F-FC0BE6B3AEF1}" dt="2022-05-20T10:25:13.561" v="5742" actId="1076"/>
          <ac:spMkLst>
            <pc:docMk/>
            <pc:sldMk cId="3947047718" sldId="2147375266"/>
            <ac:spMk id="55" creationId="{1C04A36A-07C9-4D05-B99E-B1BC3B250D36}"/>
          </ac:spMkLst>
        </pc:spChg>
        <pc:spChg chg="mod">
          <ac:chgData name="Oltmann, Mareike (DI MC MTS DG VAL)" userId="e9d180a7-92fa-4729-bbe0-3cd6fe0b20a6" providerId="ADAL" clId="{AD476B4C-CC52-40DA-870F-FC0BE6B3AEF1}" dt="2022-05-20T10:25:13.561" v="5742" actId="1076"/>
          <ac:spMkLst>
            <pc:docMk/>
            <pc:sldMk cId="3947047718" sldId="2147375266"/>
            <ac:spMk id="57" creationId="{E68835C6-8634-4DFF-82B6-3C1DC33BDE97}"/>
          </ac:spMkLst>
        </pc:spChg>
        <pc:spChg chg="mod">
          <ac:chgData name="Oltmann, Mareike (DI MC MTS DG VAL)" userId="e9d180a7-92fa-4729-bbe0-3cd6fe0b20a6" providerId="ADAL" clId="{AD476B4C-CC52-40DA-870F-FC0BE6B3AEF1}" dt="2022-05-20T10:25:13.561" v="5742" actId="1076"/>
          <ac:spMkLst>
            <pc:docMk/>
            <pc:sldMk cId="3947047718" sldId="2147375266"/>
            <ac:spMk id="58" creationId="{BBBDA286-093C-455C-8878-3A7D7E81D348}"/>
          </ac:spMkLst>
        </pc:spChg>
        <pc:spChg chg="mod">
          <ac:chgData name="Oltmann, Mareike (DI MC MTS DG VAL)" userId="e9d180a7-92fa-4729-bbe0-3cd6fe0b20a6" providerId="ADAL" clId="{AD476B4C-CC52-40DA-870F-FC0BE6B3AEF1}" dt="2022-05-20T10:25:13.561" v="5742" actId="1076"/>
          <ac:spMkLst>
            <pc:docMk/>
            <pc:sldMk cId="3947047718" sldId="2147375266"/>
            <ac:spMk id="59" creationId="{9983C56F-590D-472C-841A-398DA3046B30}"/>
          </ac:spMkLst>
        </pc:spChg>
        <pc:spChg chg="mod">
          <ac:chgData name="Oltmann, Mareike (DI MC MTS DG VAL)" userId="e9d180a7-92fa-4729-bbe0-3cd6fe0b20a6" providerId="ADAL" clId="{AD476B4C-CC52-40DA-870F-FC0BE6B3AEF1}" dt="2022-05-20T10:25:13.561" v="5742" actId="1076"/>
          <ac:spMkLst>
            <pc:docMk/>
            <pc:sldMk cId="3947047718" sldId="2147375266"/>
            <ac:spMk id="60" creationId="{128E7306-65BF-4962-98BB-58E007E5A086}"/>
          </ac:spMkLst>
        </pc:spChg>
        <pc:spChg chg="mod">
          <ac:chgData name="Oltmann, Mareike (DI MC MTS DG VAL)" userId="e9d180a7-92fa-4729-bbe0-3cd6fe0b20a6" providerId="ADAL" clId="{AD476B4C-CC52-40DA-870F-FC0BE6B3AEF1}" dt="2022-05-20T10:25:13.561" v="5742" actId="1076"/>
          <ac:spMkLst>
            <pc:docMk/>
            <pc:sldMk cId="3947047718" sldId="2147375266"/>
            <ac:spMk id="61" creationId="{E22D43D1-8E59-4979-88A7-77BE19EEBDE3}"/>
          </ac:spMkLst>
        </pc:spChg>
        <pc:spChg chg="mod">
          <ac:chgData name="Oltmann, Mareike (DI MC MTS DG VAL)" userId="e9d180a7-92fa-4729-bbe0-3cd6fe0b20a6" providerId="ADAL" clId="{AD476B4C-CC52-40DA-870F-FC0BE6B3AEF1}" dt="2022-05-20T10:25:13.561" v="5742" actId="1076"/>
          <ac:spMkLst>
            <pc:docMk/>
            <pc:sldMk cId="3947047718" sldId="2147375266"/>
            <ac:spMk id="62" creationId="{162A454E-D93F-4AB6-BB7E-9D3A1C66B6D9}"/>
          </ac:spMkLst>
        </pc:spChg>
        <pc:spChg chg="mod">
          <ac:chgData name="Oltmann, Mareike (DI MC MTS DG VAL)" userId="e9d180a7-92fa-4729-bbe0-3cd6fe0b20a6" providerId="ADAL" clId="{AD476B4C-CC52-40DA-870F-FC0BE6B3AEF1}" dt="2022-05-20T11:13:38.704" v="6122" actId="1076"/>
          <ac:spMkLst>
            <pc:docMk/>
            <pc:sldMk cId="3947047718" sldId="2147375266"/>
            <ac:spMk id="76" creationId="{4A070534-8415-49F7-A0E4-94240249B695}"/>
          </ac:spMkLst>
        </pc:spChg>
        <pc:spChg chg="mod">
          <ac:chgData name="Oltmann, Mareike (DI MC MTS DG VAL)" userId="e9d180a7-92fa-4729-bbe0-3cd6fe0b20a6" providerId="ADAL" clId="{AD476B4C-CC52-40DA-870F-FC0BE6B3AEF1}" dt="2022-05-20T11:13:38.704" v="6122" actId="1076"/>
          <ac:spMkLst>
            <pc:docMk/>
            <pc:sldMk cId="3947047718" sldId="2147375266"/>
            <ac:spMk id="77" creationId="{D2A0060B-BC1F-4BBC-B40A-F8B81451F400}"/>
          </ac:spMkLst>
        </pc:spChg>
        <pc:spChg chg="mod">
          <ac:chgData name="Oltmann, Mareike (DI MC MTS DG VAL)" userId="e9d180a7-92fa-4729-bbe0-3cd6fe0b20a6" providerId="ADAL" clId="{AD476B4C-CC52-40DA-870F-FC0BE6B3AEF1}" dt="2022-05-20T11:13:38.704" v="6122" actId="1076"/>
          <ac:spMkLst>
            <pc:docMk/>
            <pc:sldMk cId="3947047718" sldId="2147375266"/>
            <ac:spMk id="78" creationId="{F175F273-6494-4695-8016-BE30DE4B30B6}"/>
          </ac:spMkLst>
        </pc:spChg>
        <pc:spChg chg="mod">
          <ac:chgData name="Oltmann, Mareike (DI MC MTS DG VAL)" userId="e9d180a7-92fa-4729-bbe0-3cd6fe0b20a6" providerId="ADAL" clId="{AD476B4C-CC52-40DA-870F-FC0BE6B3AEF1}" dt="2022-05-20T11:13:38.704" v="6122" actId="1076"/>
          <ac:spMkLst>
            <pc:docMk/>
            <pc:sldMk cId="3947047718" sldId="2147375266"/>
            <ac:spMk id="79" creationId="{40CAED80-C21D-426D-8CFA-7CCCEE55EEF1}"/>
          </ac:spMkLst>
        </pc:spChg>
        <pc:spChg chg="mod">
          <ac:chgData name="Oltmann, Mareike (DI MC MTS DG VAL)" userId="e9d180a7-92fa-4729-bbe0-3cd6fe0b20a6" providerId="ADAL" clId="{AD476B4C-CC52-40DA-870F-FC0BE6B3AEF1}" dt="2022-05-20T11:13:38.704" v="6122" actId="1076"/>
          <ac:spMkLst>
            <pc:docMk/>
            <pc:sldMk cId="3947047718" sldId="2147375266"/>
            <ac:spMk id="80" creationId="{769981CC-B157-4BFB-BEDA-ABC5D605E1B9}"/>
          </ac:spMkLst>
        </pc:spChg>
        <pc:spChg chg="mod">
          <ac:chgData name="Oltmann, Mareike (DI MC MTS DG VAL)" userId="e9d180a7-92fa-4729-bbe0-3cd6fe0b20a6" providerId="ADAL" clId="{AD476B4C-CC52-40DA-870F-FC0BE6B3AEF1}" dt="2022-05-20T11:13:38.704" v="6122" actId="1076"/>
          <ac:spMkLst>
            <pc:docMk/>
            <pc:sldMk cId="3947047718" sldId="2147375266"/>
            <ac:spMk id="81" creationId="{6B3B8B83-56F3-4162-8F00-CBE73B4348ED}"/>
          </ac:spMkLst>
        </pc:spChg>
        <pc:spChg chg="mod">
          <ac:chgData name="Oltmann, Mareike (DI MC MTS DG VAL)" userId="e9d180a7-92fa-4729-bbe0-3cd6fe0b20a6" providerId="ADAL" clId="{AD476B4C-CC52-40DA-870F-FC0BE6B3AEF1}" dt="2022-05-20T11:13:38.704" v="6122" actId="1076"/>
          <ac:spMkLst>
            <pc:docMk/>
            <pc:sldMk cId="3947047718" sldId="2147375266"/>
            <ac:spMk id="82" creationId="{4DE2A5FE-62D0-4D0E-8C51-DA3264D60269}"/>
          </ac:spMkLst>
        </pc:spChg>
        <pc:spChg chg="mod">
          <ac:chgData name="Oltmann, Mareike (DI MC MTS DG VAL)" userId="e9d180a7-92fa-4729-bbe0-3cd6fe0b20a6" providerId="ADAL" clId="{AD476B4C-CC52-40DA-870F-FC0BE6B3AEF1}" dt="2022-05-20T11:13:38.704" v="6122" actId="1076"/>
          <ac:spMkLst>
            <pc:docMk/>
            <pc:sldMk cId="3947047718" sldId="2147375266"/>
            <ac:spMk id="83" creationId="{BED3603B-1F4D-4727-820E-657DC9CEB79C}"/>
          </ac:spMkLst>
        </pc:spChg>
        <pc:spChg chg="mod">
          <ac:chgData name="Oltmann, Mareike (DI MC MTS DG VAL)" userId="e9d180a7-92fa-4729-bbe0-3cd6fe0b20a6" providerId="ADAL" clId="{AD476B4C-CC52-40DA-870F-FC0BE6B3AEF1}" dt="2022-05-20T11:13:38.704" v="6122" actId="1076"/>
          <ac:spMkLst>
            <pc:docMk/>
            <pc:sldMk cId="3947047718" sldId="2147375266"/>
            <ac:spMk id="84" creationId="{9FD03EAE-A74F-4E54-87AF-8CF948ED955C}"/>
          </ac:spMkLst>
        </pc:spChg>
        <pc:spChg chg="mod">
          <ac:chgData name="Oltmann, Mareike (DI MC MTS DG VAL)" userId="e9d180a7-92fa-4729-bbe0-3cd6fe0b20a6" providerId="ADAL" clId="{AD476B4C-CC52-40DA-870F-FC0BE6B3AEF1}" dt="2022-05-20T11:13:38.704" v="6122" actId="1076"/>
          <ac:spMkLst>
            <pc:docMk/>
            <pc:sldMk cId="3947047718" sldId="2147375266"/>
            <ac:spMk id="85" creationId="{401E7D91-FEB3-4CC8-8A97-C49D087023FB}"/>
          </ac:spMkLst>
        </pc:spChg>
        <pc:spChg chg="add del mod">
          <ac:chgData name="Oltmann, Mareike (DI MC MTS DG VAL)" userId="e9d180a7-92fa-4729-bbe0-3cd6fe0b20a6" providerId="ADAL" clId="{AD476B4C-CC52-40DA-870F-FC0BE6B3AEF1}" dt="2022-05-20T11:41:21.292" v="6199" actId="478"/>
          <ac:spMkLst>
            <pc:docMk/>
            <pc:sldMk cId="3947047718" sldId="2147375266"/>
            <ac:spMk id="110" creationId="{FCCAAF62-FBB1-497F-B3C1-D1714DE6E907}"/>
          </ac:spMkLst>
        </pc:spChg>
        <pc:spChg chg="add del mod">
          <ac:chgData name="Oltmann, Mareike (DI MC MTS DG VAL)" userId="e9d180a7-92fa-4729-bbe0-3cd6fe0b20a6" providerId="ADAL" clId="{AD476B4C-CC52-40DA-870F-FC0BE6B3AEF1}" dt="2022-05-20T11:41:34.266" v="6203" actId="478"/>
          <ac:spMkLst>
            <pc:docMk/>
            <pc:sldMk cId="3947047718" sldId="2147375266"/>
            <ac:spMk id="111" creationId="{87B007A9-FE8B-44D2-905C-E961D00006ED}"/>
          </ac:spMkLst>
        </pc:spChg>
        <pc:spChg chg="mod">
          <ac:chgData name="Oltmann, Mareike (DI MC MTS DG VAL)" userId="e9d180a7-92fa-4729-bbe0-3cd6fe0b20a6" providerId="ADAL" clId="{AD476B4C-CC52-40DA-870F-FC0BE6B3AEF1}" dt="2022-05-20T11:41:38.549" v="6204"/>
          <ac:spMkLst>
            <pc:docMk/>
            <pc:sldMk cId="3947047718" sldId="2147375266"/>
            <ac:spMk id="109572" creationId="{00000000-0000-0000-0000-000000000000}"/>
          </ac:spMkLst>
        </pc:spChg>
        <pc:grpChg chg="add del mod">
          <ac:chgData name="Oltmann, Mareike (DI MC MTS DG VAL)" userId="e9d180a7-92fa-4729-bbe0-3cd6fe0b20a6" providerId="ADAL" clId="{AD476B4C-CC52-40DA-870F-FC0BE6B3AEF1}" dt="2022-05-20T11:13:40.581" v="6124" actId="478"/>
          <ac:grpSpMkLst>
            <pc:docMk/>
            <pc:sldMk cId="3947047718" sldId="2147375266"/>
            <ac:grpSpMk id="9" creationId="{27BDF0A8-505F-414F-BF4D-AD68991D8A70}"/>
          </ac:grpSpMkLst>
        </pc:grpChg>
        <pc:grpChg chg="add del mod">
          <ac:chgData name="Oltmann, Mareike (DI MC MTS DG VAL)" userId="e9d180a7-92fa-4729-bbe0-3cd6fe0b20a6" providerId="ADAL" clId="{AD476B4C-CC52-40DA-870F-FC0BE6B3AEF1}" dt="2022-05-20T09:58:29.271" v="5559" actId="478"/>
          <ac:grpSpMkLst>
            <pc:docMk/>
            <pc:sldMk cId="3947047718" sldId="2147375266"/>
            <ac:grpSpMk id="33" creationId="{9D19BF49-55DE-4265-9522-737420BE8B13}"/>
          </ac:grpSpMkLst>
        </pc:grpChg>
        <pc:grpChg chg="mod">
          <ac:chgData name="Oltmann, Mareike (DI MC MTS DG VAL)" userId="e9d180a7-92fa-4729-bbe0-3cd6fe0b20a6" providerId="ADAL" clId="{AD476B4C-CC52-40DA-870F-FC0BE6B3AEF1}" dt="2022-05-20T09:43:34.438" v="5544"/>
          <ac:grpSpMkLst>
            <pc:docMk/>
            <pc:sldMk cId="3947047718" sldId="2147375266"/>
            <ac:grpSpMk id="35" creationId="{C7B7E552-F298-4A10-8C30-E6B05C66ACD5}"/>
          </ac:grpSpMkLst>
        </pc:grpChg>
        <pc:grpChg chg="add del mod">
          <ac:chgData name="Oltmann, Mareike (DI MC MTS DG VAL)" userId="e9d180a7-92fa-4729-bbe0-3cd6fe0b20a6" providerId="ADAL" clId="{AD476B4C-CC52-40DA-870F-FC0BE6B3AEF1}" dt="2022-05-20T11:13:58.629" v="6130" actId="478"/>
          <ac:grpSpMkLst>
            <pc:docMk/>
            <pc:sldMk cId="3947047718" sldId="2147375266"/>
            <ac:grpSpMk id="42" creationId="{0BC870A4-576B-4367-934F-F509CB7C4120}"/>
          </ac:grpSpMkLst>
        </pc:grpChg>
        <pc:grpChg chg="add del mod">
          <ac:chgData name="Oltmann, Mareike (DI MC MTS DG VAL)" userId="e9d180a7-92fa-4729-bbe0-3cd6fe0b20a6" providerId="ADAL" clId="{AD476B4C-CC52-40DA-870F-FC0BE6B3AEF1}" dt="2022-05-20T11:38:08.425" v="6147" actId="478"/>
          <ac:grpSpMkLst>
            <pc:docMk/>
            <pc:sldMk cId="3947047718" sldId="2147375266"/>
            <ac:grpSpMk id="47" creationId="{7203584B-00E0-4E78-8010-0D4D159283C5}"/>
          </ac:grpSpMkLst>
        </pc:grpChg>
        <pc:grpChg chg="add del mod">
          <ac:chgData name="Oltmann, Mareike (DI MC MTS DG VAL)" userId="e9d180a7-92fa-4729-bbe0-3cd6fe0b20a6" providerId="ADAL" clId="{AD476B4C-CC52-40DA-870F-FC0BE6B3AEF1}" dt="2022-05-20T11:13:41.933" v="6126" actId="478"/>
          <ac:grpSpMkLst>
            <pc:docMk/>
            <pc:sldMk cId="3947047718" sldId="2147375266"/>
            <ac:grpSpMk id="53" creationId="{673C0DDB-0DFC-461B-9423-B89A62FB456A}"/>
          </ac:grpSpMkLst>
        </pc:grpChg>
        <pc:grpChg chg="add del mod">
          <ac:chgData name="Oltmann, Mareike (DI MC MTS DG VAL)" userId="e9d180a7-92fa-4729-bbe0-3cd6fe0b20a6" providerId="ADAL" clId="{AD476B4C-CC52-40DA-870F-FC0BE6B3AEF1}" dt="2022-05-20T11:13:41.227" v="6125" actId="478"/>
          <ac:grpSpMkLst>
            <pc:docMk/>
            <pc:sldMk cId="3947047718" sldId="2147375266"/>
            <ac:grpSpMk id="56" creationId="{7D244F16-542F-42B3-AE71-72060E77334D}"/>
          </ac:grpSpMkLst>
        </pc:grpChg>
        <pc:grpChg chg="add del mod ord">
          <ac:chgData name="Oltmann, Mareike (DI MC MTS DG VAL)" userId="e9d180a7-92fa-4729-bbe0-3cd6fe0b20a6" providerId="ADAL" clId="{AD476B4C-CC52-40DA-870F-FC0BE6B3AEF1}" dt="2022-05-20T10:23:52.596" v="5726" actId="478"/>
          <ac:grpSpMkLst>
            <pc:docMk/>
            <pc:sldMk cId="3947047718" sldId="2147375266"/>
            <ac:grpSpMk id="64" creationId="{F0679C38-830C-44D1-AB94-BFE0E164B10C}"/>
          </ac:grpSpMkLst>
        </pc:grpChg>
        <pc:grpChg chg="add del mod">
          <ac:chgData name="Oltmann, Mareike (DI MC MTS DG VAL)" userId="e9d180a7-92fa-4729-bbe0-3cd6fe0b20a6" providerId="ADAL" clId="{AD476B4C-CC52-40DA-870F-FC0BE6B3AEF1}" dt="2022-05-20T10:16:04.406" v="5625" actId="478"/>
          <ac:grpSpMkLst>
            <pc:docMk/>
            <pc:sldMk cId="3947047718" sldId="2147375266"/>
            <ac:grpSpMk id="67" creationId="{BE142B8D-F9C8-44F6-AA51-2C8F278EFCC8}"/>
          </ac:grpSpMkLst>
        </pc:grpChg>
        <pc:grpChg chg="add del mod">
          <ac:chgData name="Oltmann, Mareike (DI MC MTS DG VAL)" userId="e9d180a7-92fa-4729-bbe0-3cd6fe0b20a6" providerId="ADAL" clId="{AD476B4C-CC52-40DA-870F-FC0BE6B3AEF1}" dt="2022-05-20T10:23:12.538" v="5714" actId="478"/>
          <ac:grpSpMkLst>
            <pc:docMk/>
            <pc:sldMk cId="3947047718" sldId="2147375266"/>
            <ac:grpSpMk id="70" creationId="{5C835DDE-5C4E-4781-ACA8-34185AF7CA67}"/>
          </ac:grpSpMkLst>
        </pc:grpChg>
        <pc:grpChg chg="add del mod">
          <ac:chgData name="Oltmann, Mareike (DI MC MTS DG VAL)" userId="e9d180a7-92fa-4729-bbe0-3cd6fe0b20a6" providerId="ADAL" clId="{AD476B4C-CC52-40DA-870F-FC0BE6B3AEF1}" dt="2022-05-20T11:13:39.450" v="6123" actId="478"/>
          <ac:grpSpMkLst>
            <pc:docMk/>
            <pc:sldMk cId="3947047718" sldId="2147375266"/>
            <ac:grpSpMk id="73" creationId="{557A5458-DA54-451D-8489-106F3503D763}"/>
          </ac:grpSpMkLst>
        </pc:grpChg>
        <pc:grpChg chg="mod">
          <ac:chgData name="Oltmann, Mareike (DI MC MTS DG VAL)" userId="e9d180a7-92fa-4729-bbe0-3cd6fe0b20a6" providerId="ADAL" clId="{AD476B4C-CC52-40DA-870F-FC0BE6B3AEF1}" dt="2022-05-20T11:13:38.704" v="6122" actId="1076"/>
          <ac:grpSpMkLst>
            <pc:docMk/>
            <pc:sldMk cId="3947047718" sldId="2147375266"/>
            <ac:grpSpMk id="75" creationId="{E08ADD03-B530-41C0-8420-2478A580721B}"/>
          </ac:grpSpMkLst>
        </pc:grpChg>
        <pc:grpChg chg="add del mod">
          <ac:chgData name="Oltmann, Mareike (DI MC MTS DG VAL)" userId="e9d180a7-92fa-4729-bbe0-3cd6fe0b20a6" providerId="ADAL" clId="{AD476B4C-CC52-40DA-870F-FC0BE6B3AEF1}" dt="2022-05-20T10:22:45.817" v="5709" actId="478"/>
          <ac:grpSpMkLst>
            <pc:docMk/>
            <pc:sldMk cId="3947047718" sldId="2147375266"/>
            <ac:grpSpMk id="86" creationId="{2C99085C-451A-429F-8C9B-3EB04D791934}"/>
          </ac:grpSpMkLst>
        </pc:grpChg>
        <pc:grpChg chg="add del mod">
          <ac:chgData name="Oltmann, Mareike (DI MC MTS DG VAL)" userId="e9d180a7-92fa-4729-bbe0-3cd6fe0b20a6" providerId="ADAL" clId="{AD476B4C-CC52-40DA-870F-FC0BE6B3AEF1}" dt="2022-05-20T10:21:34.504" v="5695" actId="478"/>
          <ac:grpSpMkLst>
            <pc:docMk/>
            <pc:sldMk cId="3947047718" sldId="2147375266"/>
            <ac:grpSpMk id="89" creationId="{0EB411B8-19CC-4E4B-AE0B-F6DBDBB37AE6}"/>
          </ac:grpSpMkLst>
        </pc:grpChg>
        <pc:grpChg chg="add del mod">
          <ac:chgData name="Oltmann, Mareike (DI MC MTS DG VAL)" userId="e9d180a7-92fa-4729-bbe0-3cd6fe0b20a6" providerId="ADAL" clId="{AD476B4C-CC52-40DA-870F-FC0BE6B3AEF1}" dt="2022-05-20T10:22:31.549" v="5704" actId="478"/>
          <ac:grpSpMkLst>
            <pc:docMk/>
            <pc:sldMk cId="3947047718" sldId="2147375266"/>
            <ac:grpSpMk id="92" creationId="{F76D292D-1014-42FF-A576-8FF224827DAD}"/>
          </ac:grpSpMkLst>
        </pc:grpChg>
        <pc:grpChg chg="add del mod">
          <ac:chgData name="Oltmann, Mareike (DI MC MTS DG VAL)" userId="e9d180a7-92fa-4729-bbe0-3cd6fe0b20a6" providerId="ADAL" clId="{AD476B4C-CC52-40DA-870F-FC0BE6B3AEF1}" dt="2022-05-20T11:14:06.365" v="6133" actId="478"/>
          <ac:grpSpMkLst>
            <pc:docMk/>
            <pc:sldMk cId="3947047718" sldId="2147375266"/>
            <ac:grpSpMk id="96" creationId="{FAD3B73D-8C7E-4CBD-8F6B-E5FD5A45F4E7}"/>
          </ac:grpSpMkLst>
        </pc:grpChg>
        <pc:grpChg chg="add mod ord">
          <ac:chgData name="Oltmann, Mareike (DI MC MTS DG VAL)" userId="e9d180a7-92fa-4729-bbe0-3cd6fe0b20a6" providerId="ADAL" clId="{AD476B4C-CC52-40DA-870F-FC0BE6B3AEF1}" dt="2022-05-20T11:38:24.191" v="6150" actId="14100"/>
          <ac:grpSpMkLst>
            <pc:docMk/>
            <pc:sldMk cId="3947047718" sldId="2147375266"/>
            <ac:grpSpMk id="99" creationId="{565D5364-A0F0-49BE-BAED-DB5C6025DEF4}"/>
          </ac:grpSpMkLst>
        </pc:grpChg>
        <pc:grpChg chg="add del mod">
          <ac:chgData name="Oltmann, Mareike (DI MC MTS DG VAL)" userId="e9d180a7-92fa-4729-bbe0-3cd6fe0b20a6" providerId="ADAL" clId="{AD476B4C-CC52-40DA-870F-FC0BE6B3AEF1}" dt="2022-05-20T11:13:59.112" v="6131" actId="478"/>
          <ac:grpSpMkLst>
            <pc:docMk/>
            <pc:sldMk cId="3947047718" sldId="2147375266"/>
            <ac:grpSpMk id="102" creationId="{8E8B3A2E-115F-4D27-AADC-D877886937B5}"/>
          </ac:grpSpMkLst>
        </pc:grpChg>
        <pc:grpChg chg="add mod">
          <ac:chgData name="Oltmann, Mareike (DI MC MTS DG VAL)" userId="e9d180a7-92fa-4729-bbe0-3cd6fe0b20a6" providerId="ADAL" clId="{AD476B4C-CC52-40DA-870F-FC0BE6B3AEF1}" dt="2022-05-20T10:25:13.561" v="5742" actId="1076"/>
          <ac:grpSpMkLst>
            <pc:docMk/>
            <pc:sldMk cId="3947047718" sldId="2147375266"/>
            <ac:grpSpMk id="105" creationId="{303B7ACA-3A79-4F49-8229-B7BF3933016F}"/>
          </ac:grpSpMkLst>
        </pc:grpChg>
        <pc:picChg chg="add mod">
          <ac:chgData name="Oltmann, Mareike (DI MC MTS DG VAL)" userId="e9d180a7-92fa-4729-bbe0-3cd6fe0b20a6" providerId="ADAL" clId="{AD476B4C-CC52-40DA-870F-FC0BE6B3AEF1}" dt="2022-05-20T11:39:28.052" v="6161" actId="207"/>
          <ac:picMkLst>
            <pc:docMk/>
            <pc:sldMk cId="3947047718" sldId="2147375266"/>
            <ac:picMk id="12" creationId="{18E5E82F-0B8A-4FC0-B67F-E5E6B4D2C5CA}"/>
          </ac:picMkLst>
        </pc:picChg>
        <pc:picChg chg="del">
          <ac:chgData name="Oltmann, Mareike (DI MC MTS DG VAL)" userId="e9d180a7-92fa-4729-bbe0-3cd6fe0b20a6" providerId="ADAL" clId="{AD476B4C-CC52-40DA-870F-FC0BE6B3AEF1}" dt="2022-05-20T09:43:30.963" v="5542" actId="478"/>
          <ac:picMkLst>
            <pc:docMk/>
            <pc:sldMk cId="3947047718" sldId="2147375266"/>
            <ac:picMk id="17" creationId="{D3089A66-E3CB-41C7-BBE7-C3943C4C3FC9}"/>
          </ac:picMkLst>
        </pc:picChg>
        <pc:picChg chg="add del mod">
          <ac:chgData name="Oltmann, Mareike (DI MC MTS DG VAL)" userId="e9d180a7-92fa-4729-bbe0-3cd6fe0b20a6" providerId="ADAL" clId="{AD476B4C-CC52-40DA-870F-FC0BE6B3AEF1}" dt="2022-05-20T09:58:28.478" v="5557" actId="478"/>
          <ac:picMkLst>
            <pc:docMk/>
            <pc:sldMk cId="3947047718" sldId="2147375266"/>
            <ac:picMk id="31" creationId="{DC6959DB-4AF2-4554-B6F4-D230E6FD36AB}"/>
          </ac:picMkLst>
        </pc:picChg>
        <pc:picChg chg="add mod">
          <ac:chgData name="Oltmann, Mareike (DI MC MTS DG VAL)" userId="e9d180a7-92fa-4729-bbe0-3cd6fe0b20a6" providerId="ADAL" clId="{AD476B4C-CC52-40DA-870F-FC0BE6B3AEF1}" dt="2022-05-20T09:43:34.438" v="5544"/>
          <ac:picMkLst>
            <pc:docMk/>
            <pc:sldMk cId="3947047718" sldId="2147375266"/>
            <ac:picMk id="32" creationId="{B351CEBF-E9B0-40B2-9746-FC99CC53BA2B}"/>
          </ac:picMkLst>
        </pc:picChg>
        <pc:picChg chg="mod">
          <ac:chgData name="Oltmann, Mareike (DI MC MTS DG VAL)" userId="e9d180a7-92fa-4729-bbe0-3cd6fe0b20a6" providerId="ADAL" clId="{AD476B4C-CC52-40DA-870F-FC0BE6B3AEF1}" dt="2022-05-20T09:43:34.438" v="5544"/>
          <ac:picMkLst>
            <pc:docMk/>
            <pc:sldMk cId="3947047718" sldId="2147375266"/>
            <ac:picMk id="34" creationId="{AC3E1F2C-8ADB-4D8C-861A-291B70B4D75E}"/>
          </ac:picMkLst>
        </pc:picChg>
        <pc:picChg chg="add del mod">
          <ac:chgData name="Oltmann, Mareike (DI MC MTS DG VAL)" userId="e9d180a7-92fa-4729-bbe0-3cd6fe0b20a6" providerId="ADAL" clId="{AD476B4C-CC52-40DA-870F-FC0BE6B3AEF1}" dt="2022-05-20T09:58:28.922" v="5558" actId="478"/>
          <ac:picMkLst>
            <pc:docMk/>
            <pc:sldMk cId="3947047718" sldId="2147375266"/>
            <ac:picMk id="39" creationId="{5EE2B47B-0CB6-46CD-BB4B-CF4F47078721}"/>
          </ac:picMkLst>
        </pc:picChg>
        <pc:picChg chg="add mod modCrop">
          <ac:chgData name="Oltmann, Mareike (DI MC MTS DG VAL)" userId="e9d180a7-92fa-4729-bbe0-3cd6fe0b20a6" providerId="ADAL" clId="{AD476B4C-CC52-40DA-870F-FC0BE6B3AEF1}" dt="2022-05-20T10:25:13.561" v="5742" actId="1076"/>
          <ac:picMkLst>
            <pc:docMk/>
            <pc:sldMk cId="3947047718" sldId="2147375266"/>
            <ac:picMk id="40" creationId="{EE0B1EE8-0CA8-4429-BC23-64258698446F}"/>
          </ac:picMkLst>
        </pc:picChg>
        <pc:picChg chg="add del mod ord">
          <ac:chgData name="Oltmann, Mareike (DI MC MTS DG VAL)" userId="e9d180a7-92fa-4729-bbe0-3cd6fe0b20a6" providerId="ADAL" clId="{AD476B4C-CC52-40DA-870F-FC0BE6B3AEF1}" dt="2022-05-20T11:14:31.859" v="6136" actId="1076"/>
          <ac:picMkLst>
            <pc:docMk/>
            <pc:sldMk cId="3947047718" sldId="2147375266"/>
            <ac:picMk id="41" creationId="{EC5A2AFC-336E-429C-B043-4A0103EA8D56}"/>
          </ac:picMkLst>
        </pc:picChg>
        <pc:picChg chg="mod">
          <ac:chgData name="Oltmann, Mareike (DI MC MTS DG VAL)" userId="e9d180a7-92fa-4729-bbe0-3cd6fe0b20a6" providerId="ADAL" clId="{AD476B4C-CC52-40DA-870F-FC0BE6B3AEF1}" dt="2022-05-20T10:25:13.561" v="5742" actId="1076"/>
          <ac:picMkLst>
            <pc:docMk/>
            <pc:sldMk cId="3947047718" sldId="2147375266"/>
            <ac:picMk id="43" creationId="{97A7078F-F3C7-4B65-8787-63F7B685F5D7}"/>
          </ac:picMkLst>
        </pc:picChg>
        <pc:picChg chg="mod">
          <ac:chgData name="Oltmann, Mareike (DI MC MTS DG VAL)" userId="e9d180a7-92fa-4729-bbe0-3cd6fe0b20a6" providerId="ADAL" clId="{AD476B4C-CC52-40DA-870F-FC0BE6B3AEF1}" dt="2022-05-20T10:25:13.561" v="5742" actId="1076"/>
          <ac:picMkLst>
            <pc:docMk/>
            <pc:sldMk cId="3947047718" sldId="2147375266"/>
            <ac:picMk id="44" creationId="{B3BDF4B9-F3B9-4EAB-8AA4-29429A63B503}"/>
          </ac:picMkLst>
        </pc:picChg>
        <pc:picChg chg="mod">
          <ac:chgData name="Oltmann, Mareike (DI MC MTS DG VAL)" userId="e9d180a7-92fa-4729-bbe0-3cd6fe0b20a6" providerId="ADAL" clId="{AD476B4C-CC52-40DA-870F-FC0BE6B3AEF1}" dt="2022-05-20T10:25:13.561" v="5742" actId="1076"/>
          <ac:picMkLst>
            <pc:docMk/>
            <pc:sldMk cId="3947047718" sldId="2147375266"/>
            <ac:picMk id="45" creationId="{045081CB-881F-4E42-9C07-9E092BADDFB8}"/>
          </ac:picMkLst>
        </pc:picChg>
        <pc:picChg chg="add mod">
          <ac:chgData name="Oltmann, Mareike (DI MC MTS DG VAL)" userId="e9d180a7-92fa-4729-bbe0-3cd6fe0b20a6" providerId="ADAL" clId="{AD476B4C-CC52-40DA-870F-FC0BE6B3AEF1}" dt="2022-05-20T10:25:13.561" v="5742" actId="1076"/>
          <ac:picMkLst>
            <pc:docMk/>
            <pc:sldMk cId="3947047718" sldId="2147375266"/>
            <ac:picMk id="46" creationId="{9782CE7C-31F2-4517-BB07-659541E769C7}"/>
          </ac:picMkLst>
        </pc:picChg>
        <pc:picChg chg="add del mod">
          <ac:chgData name="Oltmann, Mareike (DI MC MTS DG VAL)" userId="e9d180a7-92fa-4729-bbe0-3cd6fe0b20a6" providerId="ADAL" clId="{AD476B4C-CC52-40DA-870F-FC0BE6B3AEF1}" dt="2022-05-20T10:07:59.452" v="5594" actId="478"/>
          <ac:picMkLst>
            <pc:docMk/>
            <pc:sldMk cId="3947047718" sldId="2147375266"/>
            <ac:picMk id="63" creationId="{9FB6031D-7FA3-4CB8-ACDE-A97A86455207}"/>
          </ac:picMkLst>
        </pc:picChg>
        <pc:picChg chg="mod">
          <ac:chgData name="Oltmann, Mareike (DI MC MTS DG VAL)" userId="e9d180a7-92fa-4729-bbe0-3cd6fe0b20a6" providerId="ADAL" clId="{AD476B4C-CC52-40DA-870F-FC0BE6B3AEF1}" dt="2022-05-20T11:13:38.704" v="6122" actId="1076"/>
          <ac:picMkLst>
            <pc:docMk/>
            <pc:sldMk cId="3947047718" sldId="2147375266"/>
            <ac:picMk id="74" creationId="{AEBD9A22-ADD1-4BE4-A03A-B0CC89D1F452}"/>
          </ac:picMkLst>
        </pc:picChg>
        <pc:picChg chg="add del mod">
          <ac:chgData name="Oltmann, Mareike (DI MC MTS DG VAL)" userId="e9d180a7-92fa-4729-bbe0-3cd6fe0b20a6" providerId="ADAL" clId="{AD476B4C-CC52-40DA-870F-FC0BE6B3AEF1}" dt="2022-05-20T10:37:32.195" v="5749" actId="478"/>
          <ac:picMkLst>
            <pc:docMk/>
            <pc:sldMk cId="3947047718" sldId="2147375266"/>
            <ac:picMk id="108" creationId="{2F26172C-E8B5-4087-9806-5288B898199E}"/>
          </ac:picMkLst>
        </pc:picChg>
        <pc:picChg chg="add mod modCrop">
          <ac:chgData name="Oltmann, Mareike (DI MC MTS DG VAL)" userId="e9d180a7-92fa-4729-bbe0-3cd6fe0b20a6" providerId="ADAL" clId="{AD476B4C-CC52-40DA-870F-FC0BE6B3AEF1}" dt="2022-05-20T11:39:38.191" v="6162" actId="1076"/>
          <ac:picMkLst>
            <pc:docMk/>
            <pc:sldMk cId="3947047718" sldId="2147375266"/>
            <ac:picMk id="109" creationId="{D2363C7E-06A8-4E02-AF20-95E2954E99ED}"/>
          </ac:picMkLst>
        </pc:picChg>
        <pc:picChg chg="add mod">
          <ac:chgData name="Oltmann, Mareike (DI MC MTS DG VAL)" userId="e9d180a7-92fa-4729-bbe0-3cd6fe0b20a6" providerId="ADAL" clId="{AD476B4C-CC52-40DA-870F-FC0BE6B3AEF1}" dt="2022-05-20T11:41:44.712" v="6205" actId="14100"/>
          <ac:picMkLst>
            <pc:docMk/>
            <pc:sldMk cId="3947047718" sldId="2147375266"/>
            <ac:picMk id="1026" creationId="{CF75A01A-3A2A-4B46-99CE-01CFB93F7485}"/>
          </ac:picMkLst>
        </pc:picChg>
        <pc:picChg chg="add del mod">
          <ac:chgData name="Oltmann, Mareike (DI MC MTS DG VAL)" userId="e9d180a7-92fa-4729-bbe0-3cd6fe0b20a6" providerId="ADAL" clId="{AD476B4C-CC52-40DA-870F-FC0BE6B3AEF1}" dt="2022-05-20T10:01:58.407" v="5572" actId="478"/>
          <ac:picMkLst>
            <pc:docMk/>
            <pc:sldMk cId="3947047718" sldId="2147375266"/>
            <ac:picMk id="1028" creationId="{79E6691D-48C2-46EE-B361-567566744F2F}"/>
          </ac:picMkLst>
        </pc:picChg>
        <pc:cxnChg chg="add mod">
          <ac:chgData name="Oltmann, Mareike (DI MC MTS DG VAL)" userId="e9d180a7-92fa-4729-bbe0-3cd6fe0b20a6" providerId="ADAL" clId="{AD476B4C-CC52-40DA-870F-FC0BE6B3AEF1}" dt="2022-05-20T10:25:13.561" v="5742" actId="1076"/>
          <ac:cxnSpMkLst>
            <pc:docMk/>
            <pc:sldMk cId="3947047718" sldId="2147375266"/>
            <ac:cxnSpMk id="8" creationId="{7326AC24-6468-4DF4-B40F-BC30B0F2660F}"/>
          </ac:cxnSpMkLst>
        </pc:cxnChg>
        <pc:cxnChg chg="del">
          <ac:chgData name="Oltmann, Mareike (DI MC MTS DG VAL)" userId="e9d180a7-92fa-4729-bbe0-3cd6fe0b20a6" providerId="ADAL" clId="{AD476B4C-CC52-40DA-870F-FC0BE6B3AEF1}" dt="2022-05-20T09:08:00.821" v="5092" actId="478"/>
          <ac:cxnSpMkLst>
            <pc:docMk/>
            <pc:sldMk cId="3947047718" sldId="2147375266"/>
            <ac:cxnSpMk id="25" creationId="{0D810C57-0B1E-46B0-BBF8-A534D6D97379}"/>
          </ac:cxnSpMkLst>
        </pc:cxnChg>
        <pc:cxnChg chg="del mod">
          <ac:chgData name="Oltmann, Mareike (DI MC MTS DG VAL)" userId="e9d180a7-92fa-4729-bbe0-3cd6fe0b20a6" providerId="ADAL" clId="{AD476B4C-CC52-40DA-870F-FC0BE6B3AEF1}" dt="2022-05-20T09:08:53.214" v="5171" actId="478"/>
          <ac:cxnSpMkLst>
            <pc:docMk/>
            <pc:sldMk cId="3947047718" sldId="2147375266"/>
            <ac:cxnSpMk id="28" creationId="{1990C00B-9C28-4DAC-8935-4FF9BDE33951}"/>
          </ac:cxnSpMkLst>
        </pc:cxnChg>
        <pc:cxnChg chg="add mod">
          <ac:chgData name="Oltmann, Mareike (DI MC MTS DG VAL)" userId="e9d180a7-92fa-4729-bbe0-3cd6fe0b20a6" providerId="ADAL" clId="{AD476B4C-CC52-40DA-870F-FC0BE6B3AEF1}" dt="2022-05-20T09:08:36.026" v="5167"/>
          <ac:cxnSpMkLst>
            <pc:docMk/>
            <pc:sldMk cId="3947047718" sldId="2147375266"/>
            <ac:cxnSpMk id="29" creationId="{E1B3494E-DE9A-4007-B52A-B6628824FA98}"/>
          </ac:cxnSpMkLst>
        </pc:cxnChg>
        <pc:cxnChg chg="mod">
          <ac:chgData name="Oltmann, Mareike (DI MC MTS DG VAL)" userId="e9d180a7-92fa-4729-bbe0-3cd6fe0b20a6" providerId="ADAL" clId="{AD476B4C-CC52-40DA-870F-FC0BE6B3AEF1}" dt="2022-05-20T10:14:54.787" v="5606"/>
          <ac:cxnSpMkLst>
            <pc:docMk/>
            <pc:sldMk cId="3947047718" sldId="2147375266"/>
            <ac:cxnSpMk id="65" creationId="{956C3530-D84C-47C5-92A8-44EA7364010B}"/>
          </ac:cxnSpMkLst>
        </pc:cxnChg>
        <pc:cxnChg chg="mod">
          <ac:chgData name="Oltmann, Mareike (DI MC MTS DG VAL)" userId="e9d180a7-92fa-4729-bbe0-3cd6fe0b20a6" providerId="ADAL" clId="{AD476B4C-CC52-40DA-870F-FC0BE6B3AEF1}" dt="2022-05-20T10:14:54.787" v="5606"/>
          <ac:cxnSpMkLst>
            <pc:docMk/>
            <pc:sldMk cId="3947047718" sldId="2147375266"/>
            <ac:cxnSpMk id="66" creationId="{7B81503C-3078-48BC-B22F-D5A091054F44}"/>
          </ac:cxnSpMkLst>
        </pc:cxnChg>
        <pc:cxnChg chg="mod">
          <ac:chgData name="Oltmann, Mareike (DI MC MTS DG VAL)" userId="e9d180a7-92fa-4729-bbe0-3cd6fe0b20a6" providerId="ADAL" clId="{AD476B4C-CC52-40DA-870F-FC0BE6B3AEF1}" dt="2022-05-20T10:15:56.898" v="5622" actId="1076"/>
          <ac:cxnSpMkLst>
            <pc:docMk/>
            <pc:sldMk cId="3947047718" sldId="2147375266"/>
            <ac:cxnSpMk id="68" creationId="{820DADCB-F644-44A3-9454-A9A82B6C154B}"/>
          </ac:cxnSpMkLst>
        </pc:cxnChg>
        <pc:cxnChg chg="mod ord">
          <ac:chgData name="Oltmann, Mareike (DI MC MTS DG VAL)" userId="e9d180a7-92fa-4729-bbe0-3cd6fe0b20a6" providerId="ADAL" clId="{AD476B4C-CC52-40DA-870F-FC0BE6B3AEF1}" dt="2022-05-20T10:15:50.957" v="5621" actId="167"/>
          <ac:cxnSpMkLst>
            <pc:docMk/>
            <pc:sldMk cId="3947047718" sldId="2147375266"/>
            <ac:cxnSpMk id="69" creationId="{FB74E211-44D9-4D24-ACF0-83F865BA0465}"/>
          </ac:cxnSpMkLst>
        </pc:cxnChg>
        <pc:cxnChg chg="mod">
          <ac:chgData name="Oltmann, Mareike (DI MC MTS DG VAL)" userId="e9d180a7-92fa-4729-bbe0-3cd6fe0b20a6" providerId="ADAL" clId="{AD476B4C-CC52-40DA-870F-FC0BE6B3AEF1}" dt="2022-05-20T10:16:06.020" v="5626"/>
          <ac:cxnSpMkLst>
            <pc:docMk/>
            <pc:sldMk cId="3947047718" sldId="2147375266"/>
            <ac:cxnSpMk id="71" creationId="{A999EFF6-E957-4A75-94B5-B3CF1EE47A43}"/>
          </ac:cxnSpMkLst>
        </pc:cxnChg>
        <pc:cxnChg chg="mod">
          <ac:chgData name="Oltmann, Mareike (DI MC MTS DG VAL)" userId="e9d180a7-92fa-4729-bbe0-3cd6fe0b20a6" providerId="ADAL" clId="{AD476B4C-CC52-40DA-870F-FC0BE6B3AEF1}" dt="2022-05-20T10:16:06.020" v="5626"/>
          <ac:cxnSpMkLst>
            <pc:docMk/>
            <pc:sldMk cId="3947047718" sldId="2147375266"/>
            <ac:cxnSpMk id="72" creationId="{4B1B5CA2-27F1-4E23-A405-437F3D846AA3}"/>
          </ac:cxnSpMkLst>
        </pc:cxnChg>
        <pc:cxnChg chg="mod">
          <ac:chgData name="Oltmann, Mareike (DI MC MTS DG VAL)" userId="e9d180a7-92fa-4729-bbe0-3cd6fe0b20a6" providerId="ADAL" clId="{AD476B4C-CC52-40DA-870F-FC0BE6B3AEF1}" dt="2022-05-20T10:19:02.285" v="5656"/>
          <ac:cxnSpMkLst>
            <pc:docMk/>
            <pc:sldMk cId="3947047718" sldId="2147375266"/>
            <ac:cxnSpMk id="87" creationId="{6C8AF7F6-E940-4DB4-8E7E-DB30EC39C5DC}"/>
          </ac:cxnSpMkLst>
        </pc:cxnChg>
        <pc:cxnChg chg="mod">
          <ac:chgData name="Oltmann, Mareike (DI MC MTS DG VAL)" userId="e9d180a7-92fa-4729-bbe0-3cd6fe0b20a6" providerId="ADAL" clId="{AD476B4C-CC52-40DA-870F-FC0BE6B3AEF1}" dt="2022-05-20T10:19:02.285" v="5656"/>
          <ac:cxnSpMkLst>
            <pc:docMk/>
            <pc:sldMk cId="3947047718" sldId="2147375266"/>
            <ac:cxnSpMk id="88" creationId="{A7843E0B-155D-46F0-9257-DBA95236AB77}"/>
          </ac:cxnSpMkLst>
        </pc:cxnChg>
        <pc:cxnChg chg="mod">
          <ac:chgData name="Oltmann, Mareike (DI MC MTS DG VAL)" userId="e9d180a7-92fa-4729-bbe0-3cd6fe0b20a6" providerId="ADAL" clId="{AD476B4C-CC52-40DA-870F-FC0BE6B3AEF1}" dt="2022-05-20T10:19:32.646" v="5666"/>
          <ac:cxnSpMkLst>
            <pc:docMk/>
            <pc:sldMk cId="3947047718" sldId="2147375266"/>
            <ac:cxnSpMk id="90" creationId="{D027FC15-6558-4099-8EAC-D9C594254755}"/>
          </ac:cxnSpMkLst>
        </pc:cxnChg>
        <pc:cxnChg chg="mod">
          <ac:chgData name="Oltmann, Mareike (DI MC MTS DG VAL)" userId="e9d180a7-92fa-4729-bbe0-3cd6fe0b20a6" providerId="ADAL" clId="{AD476B4C-CC52-40DA-870F-FC0BE6B3AEF1}" dt="2022-05-20T10:19:32.646" v="5666"/>
          <ac:cxnSpMkLst>
            <pc:docMk/>
            <pc:sldMk cId="3947047718" sldId="2147375266"/>
            <ac:cxnSpMk id="91" creationId="{8D0C963E-3447-407E-A3C8-6654A6DBFE81}"/>
          </ac:cxnSpMkLst>
        </pc:cxnChg>
        <pc:cxnChg chg="mod">
          <ac:chgData name="Oltmann, Mareike (DI MC MTS DG VAL)" userId="e9d180a7-92fa-4729-bbe0-3cd6fe0b20a6" providerId="ADAL" clId="{AD476B4C-CC52-40DA-870F-FC0BE6B3AEF1}" dt="2022-05-20T10:20:09.513" v="5678"/>
          <ac:cxnSpMkLst>
            <pc:docMk/>
            <pc:sldMk cId="3947047718" sldId="2147375266"/>
            <ac:cxnSpMk id="93" creationId="{3C18F436-0523-4DBB-84D1-5AB6BF00B230}"/>
          </ac:cxnSpMkLst>
        </pc:cxnChg>
        <pc:cxnChg chg="mod">
          <ac:chgData name="Oltmann, Mareike (DI MC MTS DG VAL)" userId="e9d180a7-92fa-4729-bbe0-3cd6fe0b20a6" providerId="ADAL" clId="{AD476B4C-CC52-40DA-870F-FC0BE6B3AEF1}" dt="2022-05-20T10:20:09.513" v="5678"/>
          <ac:cxnSpMkLst>
            <pc:docMk/>
            <pc:sldMk cId="3947047718" sldId="2147375266"/>
            <ac:cxnSpMk id="94" creationId="{1FA3926C-BFD0-40F5-8EE4-CA71EB8E0971}"/>
          </ac:cxnSpMkLst>
        </pc:cxnChg>
        <pc:cxnChg chg="add mod">
          <ac:chgData name="Oltmann, Mareike (DI MC MTS DG VAL)" userId="e9d180a7-92fa-4729-bbe0-3cd6fe0b20a6" providerId="ADAL" clId="{AD476B4C-CC52-40DA-870F-FC0BE6B3AEF1}" dt="2022-05-20T10:25:13.561" v="5742" actId="1076"/>
          <ac:cxnSpMkLst>
            <pc:docMk/>
            <pc:sldMk cId="3947047718" sldId="2147375266"/>
            <ac:cxnSpMk id="95" creationId="{3E80C2D0-1B5E-4586-B306-AF08963AE2F9}"/>
          </ac:cxnSpMkLst>
        </pc:cxnChg>
        <pc:cxnChg chg="mod">
          <ac:chgData name="Oltmann, Mareike (DI MC MTS DG VAL)" userId="e9d180a7-92fa-4729-bbe0-3cd6fe0b20a6" providerId="ADAL" clId="{AD476B4C-CC52-40DA-870F-FC0BE6B3AEF1}" dt="2022-05-20T10:25:13.561" v="5742" actId="1076"/>
          <ac:cxnSpMkLst>
            <pc:docMk/>
            <pc:sldMk cId="3947047718" sldId="2147375266"/>
            <ac:cxnSpMk id="97" creationId="{FB581738-623F-4643-B9A5-32A301B38395}"/>
          </ac:cxnSpMkLst>
        </pc:cxnChg>
        <pc:cxnChg chg="mod">
          <ac:chgData name="Oltmann, Mareike (DI MC MTS DG VAL)" userId="e9d180a7-92fa-4729-bbe0-3cd6fe0b20a6" providerId="ADAL" clId="{AD476B4C-CC52-40DA-870F-FC0BE6B3AEF1}" dt="2022-05-20T10:25:13.561" v="5742" actId="1076"/>
          <ac:cxnSpMkLst>
            <pc:docMk/>
            <pc:sldMk cId="3947047718" sldId="2147375266"/>
            <ac:cxnSpMk id="98" creationId="{26B25614-027A-4802-A5EA-B6CA7918310E}"/>
          </ac:cxnSpMkLst>
        </pc:cxnChg>
        <pc:cxnChg chg="mod">
          <ac:chgData name="Oltmann, Mareike (DI MC MTS DG VAL)" userId="e9d180a7-92fa-4729-bbe0-3cd6fe0b20a6" providerId="ADAL" clId="{AD476B4C-CC52-40DA-870F-FC0BE6B3AEF1}" dt="2022-05-20T10:25:13.561" v="5742" actId="1076"/>
          <ac:cxnSpMkLst>
            <pc:docMk/>
            <pc:sldMk cId="3947047718" sldId="2147375266"/>
            <ac:cxnSpMk id="100" creationId="{BFCB4B5E-B3BE-4F89-9465-740074B5A277}"/>
          </ac:cxnSpMkLst>
        </pc:cxnChg>
        <pc:cxnChg chg="mod ord">
          <ac:chgData name="Oltmann, Mareike (DI MC MTS DG VAL)" userId="e9d180a7-92fa-4729-bbe0-3cd6fe0b20a6" providerId="ADAL" clId="{AD476B4C-CC52-40DA-870F-FC0BE6B3AEF1}" dt="2022-05-20T10:25:13.561" v="5742" actId="1076"/>
          <ac:cxnSpMkLst>
            <pc:docMk/>
            <pc:sldMk cId="3947047718" sldId="2147375266"/>
            <ac:cxnSpMk id="101" creationId="{25163324-EA04-4361-A603-AF6E315C3D6D}"/>
          </ac:cxnSpMkLst>
        </pc:cxnChg>
        <pc:cxnChg chg="mod">
          <ac:chgData name="Oltmann, Mareike (DI MC MTS DG VAL)" userId="e9d180a7-92fa-4729-bbe0-3cd6fe0b20a6" providerId="ADAL" clId="{AD476B4C-CC52-40DA-870F-FC0BE6B3AEF1}" dt="2022-05-20T10:25:13.561" v="5742" actId="1076"/>
          <ac:cxnSpMkLst>
            <pc:docMk/>
            <pc:sldMk cId="3947047718" sldId="2147375266"/>
            <ac:cxnSpMk id="103" creationId="{774734C3-349E-42CE-A7A6-669FC6D2B44C}"/>
          </ac:cxnSpMkLst>
        </pc:cxnChg>
        <pc:cxnChg chg="mod">
          <ac:chgData name="Oltmann, Mareike (DI MC MTS DG VAL)" userId="e9d180a7-92fa-4729-bbe0-3cd6fe0b20a6" providerId="ADAL" clId="{AD476B4C-CC52-40DA-870F-FC0BE6B3AEF1}" dt="2022-05-20T10:25:13.561" v="5742" actId="1076"/>
          <ac:cxnSpMkLst>
            <pc:docMk/>
            <pc:sldMk cId="3947047718" sldId="2147375266"/>
            <ac:cxnSpMk id="104" creationId="{38E56796-266D-47CC-AD0D-113E59CE28F0}"/>
          </ac:cxnSpMkLst>
        </pc:cxnChg>
        <pc:cxnChg chg="mod">
          <ac:chgData name="Oltmann, Mareike (DI MC MTS DG VAL)" userId="e9d180a7-92fa-4729-bbe0-3cd6fe0b20a6" providerId="ADAL" clId="{AD476B4C-CC52-40DA-870F-FC0BE6B3AEF1}" dt="2022-05-20T10:25:13.561" v="5742" actId="1076"/>
          <ac:cxnSpMkLst>
            <pc:docMk/>
            <pc:sldMk cId="3947047718" sldId="2147375266"/>
            <ac:cxnSpMk id="106" creationId="{700FC272-6211-4EDB-BD5E-884E2BFD6CD2}"/>
          </ac:cxnSpMkLst>
        </pc:cxnChg>
        <pc:cxnChg chg="mod">
          <ac:chgData name="Oltmann, Mareike (DI MC MTS DG VAL)" userId="e9d180a7-92fa-4729-bbe0-3cd6fe0b20a6" providerId="ADAL" clId="{AD476B4C-CC52-40DA-870F-FC0BE6B3AEF1}" dt="2022-05-20T10:25:13.561" v="5742" actId="1076"/>
          <ac:cxnSpMkLst>
            <pc:docMk/>
            <pc:sldMk cId="3947047718" sldId="2147375266"/>
            <ac:cxnSpMk id="107" creationId="{81380B49-C494-4BF8-89F6-2547B7B9EE14}"/>
          </ac:cxnSpMkLst>
        </pc:cxnChg>
      </pc:sldChg>
      <pc:sldChg chg="addSp delSp modSp add mod addCm delCm modCm">
        <pc:chgData name="Oltmann, Mareike (DI MC MTS DG VAL)" userId="e9d180a7-92fa-4729-bbe0-3cd6fe0b20a6" providerId="ADAL" clId="{AD476B4C-CC52-40DA-870F-FC0BE6B3AEF1}" dt="2022-07-08T08:35:20.454" v="6278" actId="14100"/>
        <pc:sldMkLst>
          <pc:docMk/>
          <pc:sldMk cId="1210315600" sldId="2147375267"/>
        </pc:sldMkLst>
        <pc:spChg chg="mod">
          <ac:chgData name="Oltmann, Mareike (DI MC MTS DG VAL)" userId="e9d180a7-92fa-4729-bbe0-3cd6fe0b20a6" providerId="ADAL" clId="{AD476B4C-CC52-40DA-870F-FC0BE6B3AEF1}" dt="2022-05-20T11:40:34.534" v="6184"/>
          <ac:spMkLst>
            <pc:docMk/>
            <pc:sldMk cId="1210315600" sldId="2147375267"/>
            <ac:spMk id="2" creationId="{00000000-0000-0000-0000-000000000000}"/>
          </ac:spMkLst>
        </pc:spChg>
        <pc:spChg chg="add del mod">
          <ac:chgData name="Oltmann, Mareike (DI MC MTS DG VAL)" userId="e9d180a7-92fa-4729-bbe0-3cd6fe0b20a6" providerId="ADAL" clId="{AD476B4C-CC52-40DA-870F-FC0BE6B3AEF1}" dt="2022-05-20T09:39:18.352" v="5449" actId="478"/>
          <ac:spMkLst>
            <pc:docMk/>
            <pc:sldMk cId="1210315600" sldId="2147375267"/>
            <ac:spMk id="8" creationId="{FA35ADFB-B150-463B-B50B-D83A1779A203}"/>
          </ac:spMkLst>
        </pc:spChg>
        <pc:spChg chg="add del mod">
          <ac:chgData name="Oltmann, Mareike (DI MC MTS DG VAL)" userId="e9d180a7-92fa-4729-bbe0-3cd6fe0b20a6" providerId="ADAL" clId="{AD476B4C-CC52-40DA-870F-FC0BE6B3AEF1}" dt="2022-05-20T09:40:54.227" v="5530" actId="478"/>
          <ac:spMkLst>
            <pc:docMk/>
            <pc:sldMk cId="1210315600" sldId="2147375267"/>
            <ac:spMk id="9" creationId="{389EBE29-B717-4E88-8BCC-682AAD1D0C7B}"/>
          </ac:spMkLst>
        </pc:spChg>
        <pc:spChg chg="add del mod">
          <ac:chgData name="Oltmann, Mareike (DI MC MTS DG VAL)" userId="e9d180a7-92fa-4729-bbe0-3cd6fe0b20a6" providerId="ADAL" clId="{AD476B4C-CC52-40DA-870F-FC0BE6B3AEF1}" dt="2022-05-17T05:17:21.902" v="4107"/>
          <ac:spMkLst>
            <pc:docMk/>
            <pc:sldMk cId="1210315600" sldId="2147375267"/>
            <ac:spMk id="12" creationId="{507231DB-44EE-40D4-B717-255B7D85A281}"/>
          </ac:spMkLst>
        </pc:spChg>
        <pc:spChg chg="del mod">
          <ac:chgData name="Oltmann, Mareike (DI MC MTS DG VAL)" userId="e9d180a7-92fa-4729-bbe0-3cd6fe0b20a6" providerId="ADAL" clId="{AD476B4C-CC52-40DA-870F-FC0BE6B3AEF1}" dt="2022-05-20T09:23:07.654" v="5325" actId="478"/>
          <ac:spMkLst>
            <pc:docMk/>
            <pc:sldMk cId="1210315600" sldId="2147375267"/>
            <ac:spMk id="14" creationId="{F7FA147B-5D02-416E-88AB-DA0985C1E597}"/>
          </ac:spMkLst>
        </pc:spChg>
        <pc:spChg chg="del mod">
          <ac:chgData name="Oltmann, Mareike (DI MC MTS DG VAL)" userId="e9d180a7-92fa-4729-bbe0-3cd6fe0b20a6" providerId="ADAL" clId="{AD476B4C-CC52-40DA-870F-FC0BE6B3AEF1}" dt="2022-05-20T09:23:11.687" v="5326" actId="478"/>
          <ac:spMkLst>
            <pc:docMk/>
            <pc:sldMk cId="1210315600" sldId="2147375267"/>
            <ac:spMk id="15" creationId="{4B44928E-A506-4A62-B265-27371E06D8C4}"/>
          </ac:spMkLst>
        </pc:spChg>
        <pc:spChg chg="del mod">
          <ac:chgData name="Oltmann, Mareike (DI MC MTS DG VAL)" userId="e9d180a7-92fa-4729-bbe0-3cd6fe0b20a6" providerId="ADAL" clId="{AD476B4C-CC52-40DA-870F-FC0BE6B3AEF1}" dt="2022-05-20T09:23:05.773" v="5324" actId="478"/>
          <ac:spMkLst>
            <pc:docMk/>
            <pc:sldMk cId="1210315600" sldId="2147375267"/>
            <ac:spMk id="16" creationId="{4FE2B803-8B4C-4886-B026-3BE0F677D586}"/>
          </ac:spMkLst>
        </pc:spChg>
        <pc:spChg chg="add mod">
          <ac:chgData name="Oltmann, Mareike (DI MC MTS DG VAL)" userId="e9d180a7-92fa-4729-bbe0-3cd6fe0b20a6" providerId="ADAL" clId="{AD476B4C-CC52-40DA-870F-FC0BE6B3AEF1}" dt="2022-05-20T09:24:26.263" v="5330" actId="1076"/>
          <ac:spMkLst>
            <pc:docMk/>
            <pc:sldMk cId="1210315600" sldId="2147375267"/>
            <ac:spMk id="18" creationId="{56A4A6B0-06EB-4AF9-830D-C93B60DE98DD}"/>
          </ac:spMkLst>
        </pc:spChg>
        <pc:spChg chg="add mod">
          <ac:chgData name="Oltmann, Mareike (DI MC MTS DG VAL)" userId="e9d180a7-92fa-4729-bbe0-3cd6fe0b20a6" providerId="ADAL" clId="{AD476B4C-CC52-40DA-870F-FC0BE6B3AEF1}" dt="2022-05-20T09:24:05.654" v="5329" actId="1076"/>
          <ac:spMkLst>
            <pc:docMk/>
            <pc:sldMk cId="1210315600" sldId="2147375267"/>
            <ac:spMk id="19" creationId="{98B56603-E910-4959-98E7-74D5F5A5BFE2}"/>
          </ac:spMkLst>
        </pc:spChg>
        <pc:spChg chg="add mod">
          <ac:chgData name="Oltmann, Mareike (DI MC MTS DG VAL)" userId="e9d180a7-92fa-4729-bbe0-3cd6fe0b20a6" providerId="ADAL" clId="{AD476B4C-CC52-40DA-870F-FC0BE6B3AEF1}" dt="2022-05-20T09:24:26.263" v="5330" actId="1076"/>
          <ac:spMkLst>
            <pc:docMk/>
            <pc:sldMk cId="1210315600" sldId="2147375267"/>
            <ac:spMk id="20" creationId="{79A3E151-C361-4E9B-85B5-C71B085CFDF9}"/>
          </ac:spMkLst>
        </pc:spChg>
        <pc:spChg chg="mod">
          <ac:chgData name="Oltmann, Mareike (DI MC MTS DG VAL)" userId="e9d180a7-92fa-4729-bbe0-3cd6fe0b20a6" providerId="ADAL" clId="{AD476B4C-CC52-40DA-870F-FC0BE6B3AEF1}" dt="2022-05-17T05:12:35.013" v="4078" actId="20577"/>
          <ac:spMkLst>
            <pc:docMk/>
            <pc:sldMk cId="1210315600" sldId="2147375267"/>
            <ac:spMk id="125" creationId="{7978D5EE-A1A8-4A0D-A761-4ACC5629442E}"/>
          </ac:spMkLst>
        </pc:spChg>
        <pc:spChg chg="mod">
          <ac:chgData name="Oltmann, Mareike (DI MC MTS DG VAL)" userId="e9d180a7-92fa-4729-bbe0-3cd6fe0b20a6" providerId="ADAL" clId="{AD476B4C-CC52-40DA-870F-FC0BE6B3AEF1}" dt="2022-07-08T08:35:20.454" v="6278" actId="14100"/>
          <ac:spMkLst>
            <pc:docMk/>
            <pc:sldMk cId="1210315600" sldId="2147375267"/>
            <ac:spMk id="147" creationId="{83996EAC-2F8D-49F8-885A-4C032CCF4B59}"/>
          </ac:spMkLst>
        </pc:spChg>
        <pc:grpChg chg="add mod">
          <ac:chgData name="Oltmann, Mareike (DI MC MTS DG VAL)" userId="e9d180a7-92fa-4729-bbe0-3cd6fe0b20a6" providerId="ADAL" clId="{AD476B4C-CC52-40DA-870F-FC0BE6B3AEF1}" dt="2022-05-20T09:22:35.155" v="5322" actId="164"/>
          <ac:grpSpMkLst>
            <pc:docMk/>
            <pc:sldMk cId="1210315600" sldId="2147375267"/>
            <ac:grpSpMk id="3" creationId="{6744B676-8D7D-4DEB-BF46-7817EAC2C334}"/>
          </ac:grpSpMkLst>
        </pc:grpChg>
        <pc:grpChg chg="add mod">
          <ac:chgData name="Oltmann, Mareike (DI MC MTS DG VAL)" userId="e9d180a7-92fa-4729-bbe0-3cd6fe0b20a6" providerId="ADAL" clId="{AD476B4C-CC52-40DA-870F-FC0BE6B3AEF1}" dt="2022-06-17T11:18:12.573" v="6265" actId="14100"/>
          <ac:grpSpMkLst>
            <pc:docMk/>
            <pc:sldMk cId="1210315600" sldId="2147375267"/>
            <ac:grpSpMk id="7" creationId="{AB110CCF-1C8C-455A-AE08-B2328AF27A9B}"/>
          </ac:grpSpMkLst>
        </pc:grpChg>
        <pc:grpChg chg="add del mod">
          <ac:chgData name="Oltmann, Mareike (DI MC MTS DG VAL)" userId="e9d180a7-92fa-4729-bbe0-3cd6fe0b20a6" providerId="ADAL" clId="{AD476B4C-CC52-40DA-870F-FC0BE6B3AEF1}" dt="2022-05-20T09:23:11.687" v="5326" actId="478"/>
          <ac:grpSpMkLst>
            <pc:docMk/>
            <pc:sldMk cId="1210315600" sldId="2147375267"/>
            <ac:grpSpMk id="12" creationId="{19FFE0B6-103B-4516-8EAF-E6C92671BD55}"/>
          </ac:grpSpMkLst>
        </pc:grpChg>
        <pc:picChg chg="add del mod ord">
          <ac:chgData name="Oltmann, Mareike (DI MC MTS DG VAL)" userId="e9d180a7-92fa-4729-bbe0-3cd6fe0b20a6" providerId="ADAL" clId="{AD476B4C-CC52-40DA-870F-FC0BE6B3AEF1}" dt="2022-05-20T09:25:45.803" v="5355" actId="478"/>
          <ac:picMkLst>
            <pc:docMk/>
            <pc:sldMk cId="1210315600" sldId="2147375267"/>
            <ac:picMk id="11" creationId="{58F17830-C402-43FB-8B45-CF73105FFAE9}"/>
          </ac:picMkLst>
        </pc:picChg>
        <pc:picChg chg="mod modCrop">
          <ac:chgData name="Oltmann, Mareike (DI MC MTS DG VAL)" userId="e9d180a7-92fa-4729-bbe0-3cd6fe0b20a6" providerId="ADAL" clId="{AD476B4C-CC52-40DA-870F-FC0BE6B3AEF1}" dt="2022-05-20T09:36:11.335" v="5403" actId="1076"/>
          <ac:picMkLst>
            <pc:docMk/>
            <pc:sldMk cId="1210315600" sldId="2147375267"/>
            <ac:picMk id="13" creationId="{689867F3-A5B3-4501-897C-2534DBC88A2E}"/>
          </ac:picMkLst>
        </pc:picChg>
        <pc:picChg chg="add del mod">
          <ac:chgData name="Oltmann, Mareike (DI MC MTS DG VAL)" userId="e9d180a7-92fa-4729-bbe0-3cd6fe0b20a6" providerId="ADAL" clId="{AD476B4C-CC52-40DA-870F-FC0BE6B3AEF1}" dt="2022-05-20T09:22:11.599" v="5317" actId="478"/>
          <ac:picMkLst>
            <pc:docMk/>
            <pc:sldMk cId="1210315600" sldId="2147375267"/>
            <ac:picMk id="17" creationId="{6B29E600-8F7D-45A1-BBF0-C4387D454811}"/>
          </ac:picMkLst>
        </pc:picChg>
        <pc:picChg chg="add mod modCrop">
          <ac:chgData name="Oltmann, Mareike (DI MC MTS DG VAL)" userId="e9d180a7-92fa-4729-bbe0-3cd6fe0b20a6" providerId="ADAL" clId="{AD476B4C-CC52-40DA-870F-FC0BE6B3AEF1}" dt="2022-06-17T11:18:14.972" v="6266" actId="14100"/>
          <ac:picMkLst>
            <pc:docMk/>
            <pc:sldMk cId="1210315600" sldId="2147375267"/>
            <ac:picMk id="23" creationId="{C2B4E8A3-3538-4C1B-81AF-A622FDF49717}"/>
          </ac:picMkLst>
        </pc:picChg>
        <pc:picChg chg="add del mod ord modCrop">
          <ac:chgData name="Oltmann, Mareike (DI MC MTS DG VAL)" userId="e9d180a7-92fa-4729-bbe0-3cd6fe0b20a6" providerId="ADAL" clId="{AD476B4C-CC52-40DA-870F-FC0BE6B3AEF1}" dt="2022-05-20T09:45:05.831" v="5554" actId="478"/>
          <ac:picMkLst>
            <pc:docMk/>
            <pc:sldMk cId="1210315600" sldId="2147375267"/>
            <ac:picMk id="24" creationId="{A1B5BC6D-C6AF-44B1-AD3E-B8B1E204E165}"/>
          </ac:picMkLst>
        </pc:picChg>
        <pc:picChg chg="add mod ord">
          <ac:chgData name="Oltmann, Mareike (DI MC MTS DG VAL)" userId="e9d180a7-92fa-4729-bbe0-3cd6fe0b20a6" providerId="ADAL" clId="{AD476B4C-CC52-40DA-870F-FC0BE6B3AEF1}" dt="2022-06-17T11:18:27.572" v="6268" actId="14100"/>
          <ac:picMkLst>
            <pc:docMk/>
            <pc:sldMk cId="1210315600" sldId="2147375267"/>
            <ac:picMk id="27" creationId="{11349817-0309-4F3D-9582-3E17C0868833}"/>
          </ac:picMkLst>
        </pc:picChg>
      </pc:sldChg>
      <pc:sldChg chg="modSp add del mod ord modShow addCm">
        <pc:chgData name="Oltmann, Mareike (DI MC MTS DG VAL)" userId="e9d180a7-92fa-4729-bbe0-3cd6fe0b20a6" providerId="ADAL" clId="{AD476B4C-CC52-40DA-870F-FC0BE6B3AEF1}" dt="2022-05-20T10:57:20.994" v="5959" actId="47"/>
        <pc:sldMkLst>
          <pc:docMk/>
          <pc:sldMk cId="4047183019" sldId="2147375268"/>
        </pc:sldMkLst>
        <pc:spChg chg="mod">
          <ac:chgData name="Oltmann, Mareike (DI MC MTS DG VAL)" userId="e9d180a7-92fa-4729-bbe0-3cd6fe0b20a6" providerId="ADAL" clId="{AD476B4C-CC52-40DA-870F-FC0BE6B3AEF1}" dt="2022-05-20T09:12:49.545" v="5223"/>
          <ac:spMkLst>
            <pc:docMk/>
            <pc:sldMk cId="4047183019" sldId="2147375268"/>
            <ac:spMk id="2" creationId="{00000000-0000-0000-0000-000000000000}"/>
          </ac:spMkLst>
        </pc:spChg>
        <pc:spChg chg="mod">
          <ac:chgData name="Oltmann, Mareike (DI MC MTS DG VAL)" userId="e9d180a7-92fa-4729-bbe0-3cd6fe0b20a6" providerId="ADAL" clId="{AD476B4C-CC52-40DA-870F-FC0BE6B3AEF1}" dt="2022-05-17T06:35:43.428" v="4655" actId="20577"/>
          <ac:spMkLst>
            <pc:docMk/>
            <pc:sldMk cId="4047183019" sldId="2147375268"/>
            <ac:spMk id="147" creationId="{83996EAC-2F8D-49F8-885A-4C032CCF4B59}"/>
          </ac:spMkLst>
        </pc:spChg>
        <pc:picChg chg="mod">
          <ac:chgData name="Oltmann, Mareike (DI MC MTS DG VAL)" userId="e9d180a7-92fa-4729-bbe0-3cd6fe0b20a6" providerId="ADAL" clId="{AD476B4C-CC52-40DA-870F-FC0BE6B3AEF1}" dt="2022-05-17T05:46:44.768" v="4414" actId="1076"/>
          <ac:picMkLst>
            <pc:docMk/>
            <pc:sldMk cId="4047183019" sldId="2147375268"/>
            <ac:picMk id="124" creationId="{45396844-2031-4BD6-8329-065F0E44FF13}"/>
          </ac:picMkLst>
        </pc:picChg>
      </pc:sldChg>
      <pc:sldChg chg="addSp delSp modSp add mod ord">
        <pc:chgData name="Oltmann, Mareike (DI MC MTS DG VAL)" userId="e9d180a7-92fa-4729-bbe0-3cd6fe0b20a6" providerId="ADAL" clId="{AD476B4C-CC52-40DA-870F-FC0BE6B3AEF1}" dt="2022-05-20T11:44:54.788" v="6262" actId="478"/>
        <pc:sldMkLst>
          <pc:docMk/>
          <pc:sldMk cId="119605602" sldId="2147375269"/>
        </pc:sldMkLst>
        <pc:spChg chg="mod">
          <ac:chgData name="Oltmann, Mareike (DI MC MTS DG VAL)" userId="e9d180a7-92fa-4729-bbe0-3cd6fe0b20a6" providerId="ADAL" clId="{AD476B4C-CC52-40DA-870F-FC0BE6B3AEF1}" dt="2022-05-20T11:42:57.221" v="6246" actId="20577"/>
          <ac:spMkLst>
            <pc:docMk/>
            <pc:sldMk cId="119605602" sldId="2147375269"/>
            <ac:spMk id="2" creationId="{00000000-0000-0000-0000-000000000000}"/>
          </ac:spMkLst>
        </pc:spChg>
        <pc:spChg chg="del">
          <ac:chgData name="Oltmann, Mareike (DI MC MTS DG VAL)" userId="e9d180a7-92fa-4729-bbe0-3cd6fe0b20a6" providerId="ADAL" clId="{AD476B4C-CC52-40DA-870F-FC0BE6B3AEF1}" dt="2022-05-20T10:40:43.502" v="5769" actId="478"/>
          <ac:spMkLst>
            <pc:docMk/>
            <pc:sldMk cId="119605602" sldId="2147375269"/>
            <ac:spMk id="3" creationId="{270385F3-2B23-48B0-B8D5-9087682CCE53}"/>
          </ac:spMkLst>
        </pc:spChg>
        <pc:spChg chg="add mod">
          <ac:chgData name="Oltmann, Mareike (DI MC MTS DG VAL)" userId="e9d180a7-92fa-4729-bbe0-3cd6fe0b20a6" providerId="ADAL" clId="{AD476B4C-CC52-40DA-870F-FC0BE6B3AEF1}" dt="2022-05-20T10:55:11.716" v="5925" actId="1076"/>
          <ac:spMkLst>
            <pc:docMk/>
            <pc:sldMk cId="119605602" sldId="2147375269"/>
            <ac:spMk id="7" creationId="{BA6F5871-2E7E-47FF-8CB5-E9FCBE8C37E1}"/>
          </ac:spMkLst>
        </pc:spChg>
        <pc:spChg chg="add mod">
          <ac:chgData name="Oltmann, Mareike (DI MC MTS DG VAL)" userId="e9d180a7-92fa-4729-bbe0-3cd6fe0b20a6" providerId="ADAL" clId="{AD476B4C-CC52-40DA-870F-FC0BE6B3AEF1}" dt="2022-05-20T10:55:11.716" v="5925" actId="1076"/>
          <ac:spMkLst>
            <pc:docMk/>
            <pc:sldMk cId="119605602" sldId="2147375269"/>
            <ac:spMk id="18" creationId="{BCB96037-CE92-48B1-B046-DA0CC1303A78}"/>
          </ac:spMkLst>
        </pc:spChg>
        <pc:spChg chg="add mod ord">
          <ac:chgData name="Oltmann, Mareike (DI MC MTS DG VAL)" userId="e9d180a7-92fa-4729-bbe0-3cd6fe0b20a6" providerId="ADAL" clId="{AD476B4C-CC52-40DA-870F-FC0BE6B3AEF1}" dt="2022-05-20T10:55:11.716" v="5925" actId="1076"/>
          <ac:spMkLst>
            <pc:docMk/>
            <pc:sldMk cId="119605602" sldId="2147375269"/>
            <ac:spMk id="19" creationId="{047EC81E-6A76-41DB-B6DD-D3B82DDF8B4C}"/>
          </ac:spMkLst>
        </pc:spChg>
        <pc:spChg chg="add del mod">
          <ac:chgData name="Oltmann, Mareike (DI MC MTS DG VAL)" userId="e9d180a7-92fa-4729-bbe0-3cd6fe0b20a6" providerId="ADAL" clId="{AD476B4C-CC52-40DA-870F-FC0BE6B3AEF1}" dt="2022-05-20T10:41:22.474" v="5786" actId="478"/>
          <ac:spMkLst>
            <pc:docMk/>
            <pc:sldMk cId="119605602" sldId="2147375269"/>
            <ac:spMk id="20" creationId="{9E3EF40A-1A8E-4BB0-8FB6-14D068096FC6}"/>
          </ac:spMkLst>
        </pc:spChg>
        <pc:spChg chg="add mod ord">
          <ac:chgData name="Oltmann, Mareike (DI MC MTS DG VAL)" userId="e9d180a7-92fa-4729-bbe0-3cd6fe0b20a6" providerId="ADAL" clId="{AD476B4C-CC52-40DA-870F-FC0BE6B3AEF1}" dt="2022-05-20T10:56:31.343" v="5945" actId="14100"/>
          <ac:spMkLst>
            <pc:docMk/>
            <pc:sldMk cId="119605602" sldId="2147375269"/>
            <ac:spMk id="21" creationId="{0F2B7D44-7A45-46E3-A5D5-C22AE510DA3B}"/>
          </ac:spMkLst>
        </pc:spChg>
        <pc:spChg chg="add del mod">
          <ac:chgData name="Oltmann, Mareike (DI MC MTS DG VAL)" userId="e9d180a7-92fa-4729-bbe0-3cd6fe0b20a6" providerId="ADAL" clId="{AD476B4C-CC52-40DA-870F-FC0BE6B3AEF1}" dt="2022-05-20T10:56:26.676" v="5944" actId="14100"/>
          <ac:spMkLst>
            <pc:docMk/>
            <pc:sldMk cId="119605602" sldId="2147375269"/>
            <ac:spMk id="22" creationId="{D184B1E5-6834-4501-A1F8-B6D13E088D58}"/>
          </ac:spMkLst>
        </pc:spChg>
        <pc:spChg chg="add mod">
          <ac:chgData name="Oltmann, Mareike (DI MC MTS DG VAL)" userId="e9d180a7-92fa-4729-bbe0-3cd6fe0b20a6" providerId="ADAL" clId="{AD476B4C-CC52-40DA-870F-FC0BE6B3AEF1}" dt="2022-05-20T10:57:07.401" v="5958" actId="14100"/>
          <ac:spMkLst>
            <pc:docMk/>
            <pc:sldMk cId="119605602" sldId="2147375269"/>
            <ac:spMk id="23" creationId="{A2D52FD0-9923-4C38-98D0-2F5CDD19BE34}"/>
          </ac:spMkLst>
        </pc:spChg>
        <pc:spChg chg="del mod">
          <ac:chgData name="Oltmann, Mareike (DI MC MTS DG VAL)" userId="e9d180a7-92fa-4729-bbe0-3cd6fe0b20a6" providerId="ADAL" clId="{AD476B4C-CC52-40DA-870F-FC0BE6B3AEF1}" dt="2022-05-20T10:40:46.066" v="5773" actId="478"/>
          <ac:spMkLst>
            <pc:docMk/>
            <pc:sldMk cId="119605602" sldId="2147375269"/>
            <ac:spMk id="119" creationId="{54EBA425-28B6-47E0-B26A-4E362481082C}"/>
          </ac:spMkLst>
        </pc:spChg>
        <pc:spChg chg="del">
          <ac:chgData name="Oltmann, Mareike (DI MC MTS DG VAL)" userId="e9d180a7-92fa-4729-bbe0-3cd6fe0b20a6" providerId="ADAL" clId="{AD476B4C-CC52-40DA-870F-FC0BE6B3AEF1}" dt="2022-05-20T10:40:40.991" v="5767" actId="478"/>
          <ac:spMkLst>
            <pc:docMk/>
            <pc:sldMk cId="119605602" sldId="2147375269"/>
            <ac:spMk id="125" creationId="{7978D5EE-A1A8-4A0D-A761-4ACC5629442E}"/>
          </ac:spMkLst>
        </pc:spChg>
        <pc:spChg chg="del">
          <ac:chgData name="Oltmann, Mareike (DI MC MTS DG VAL)" userId="e9d180a7-92fa-4729-bbe0-3cd6fe0b20a6" providerId="ADAL" clId="{AD476B4C-CC52-40DA-870F-FC0BE6B3AEF1}" dt="2022-05-20T10:40:58.235" v="5776" actId="478"/>
          <ac:spMkLst>
            <pc:docMk/>
            <pc:sldMk cId="119605602" sldId="2147375269"/>
            <ac:spMk id="147" creationId="{83996EAC-2F8D-49F8-885A-4C032CCF4B59}"/>
          </ac:spMkLst>
        </pc:spChg>
        <pc:picChg chg="del">
          <ac:chgData name="Oltmann, Mareike (DI MC MTS DG VAL)" userId="e9d180a7-92fa-4729-bbe0-3cd6fe0b20a6" providerId="ADAL" clId="{AD476B4C-CC52-40DA-870F-FC0BE6B3AEF1}" dt="2022-05-20T10:40:46.569" v="5774" actId="478"/>
          <ac:picMkLst>
            <pc:docMk/>
            <pc:sldMk cId="119605602" sldId="2147375269"/>
            <ac:picMk id="14" creationId="{FF82AB95-0071-4535-9F41-740AA8E9C78A}"/>
          </ac:picMkLst>
        </pc:picChg>
        <pc:picChg chg="del">
          <ac:chgData name="Oltmann, Mareike (DI MC MTS DG VAL)" userId="e9d180a7-92fa-4729-bbe0-3cd6fe0b20a6" providerId="ADAL" clId="{AD476B4C-CC52-40DA-870F-FC0BE6B3AEF1}" dt="2022-05-20T10:40:43.857" v="5770" actId="478"/>
          <ac:picMkLst>
            <pc:docMk/>
            <pc:sldMk cId="119605602" sldId="2147375269"/>
            <ac:picMk id="15" creationId="{C33A42C3-8EB0-442E-AB0C-A33768E5A4B7}"/>
          </ac:picMkLst>
        </pc:picChg>
        <pc:picChg chg="del">
          <ac:chgData name="Oltmann, Mareike (DI MC MTS DG VAL)" userId="e9d180a7-92fa-4729-bbe0-3cd6fe0b20a6" providerId="ADAL" clId="{AD476B4C-CC52-40DA-870F-FC0BE6B3AEF1}" dt="2022-05-20T10:40:44.188" v="5771" actId="478"/>
          <ac:picMkLst>
            <pc:docMk/>
            <pc:sldMk cId="119605602" sldId="2147375269"/>
            <ac:picMk id="16" creationId="{EA303F0E-A381-4E28-9844-411B20E3B27B}"/>
          </ac:picMkLst>
        </pc:picChg>
        <pc:picChg chg="add mod modCrop">
          <ac:chgData name="Oltmann, Mareike (DI MC MTS DG VAL)" userId="e9d180a7-92fa-4729-bbe0-3cd6fe0b20a6" providerId="ADAL" clId="{AD476B4C-CC52-40DA-870F-FC0BE6B3AEF1}" dt="2022-05-20T10:55:11.716" v="5925" actId="1076"/>
          <ac:picMkLst>
            <pc:docMk/>
            <pc:sldMk cId="119605602" sldId="2147375269"/>
            <ac:picMk id="24" creationId="{C88385DE-605A-489C-B10C-2FFE153C8822}"/>
          </ac:picMkLst>
        </pc:picChg>
        <pc:picChg chg="add mod modCrop">
          <ac:chgData name="Oltmann, Mareike (DI MC MTS DG VAL)" userId="e9d180a7-92fa-4729-bbe0-3cd6fe0b20a6" providerId="ADAL" clId="{AD476B4C-CC52-40DA-870F-FC0BE6B3AEF1}" dt="2022-05-20T10:55:11.716" v="5925" actId="1076"/>
          <ac:picMkLst>
            <pc:docMk/>
            <pc:sldMk cId="119605602" sldId="2147375269"/>
            <ac:picMk id="25" creationId="{69DD16E0-8380-49AF-8AB6-258B6EC17CC3}"/>
          </ac:picMkLst>
        </pc:picChg>
        <pc:picChg chg="add del mod">
          <ac:chgData name="Oltmann, Mareike (DI MC MTS DG VAL)" userId="e9d180a7-92fa-4729-bbe0-3cd6fe0b20a6" providerId="ADAL" clId="{AD476B4C-CC52-40DA-870F-FC0BE6B3AEF1}" dt="2022-05-20T10:46:32.123" v="5825" actId="478"/>
          <ac:picMkLst>
            <pc:docMk/>
            <pc:sldMk cId="119605602" sldId="2147375269"/>
            <ac:picMk id="26" creationId="{47E9DD34-BAC0-4FC3-A21A-B4C8656B86CC}"/>
          </ac:picMkLst>
        </pc:picChg>
        <pc:picChg chg="add del mod modCrop">
          <ac:chgData name="Oltmann, Mareike (DI MC MTS DG VAL)" userId="e9d180a7-92fa-4729-bbe0-3cd6fe0b20a6" providerId="ADAL" clId="{AD476B4C-CC52-40DA-870F-FC0BE6B3AEF1}" dt="2022-05-20T10:47:49.573" v="5834" actId="478"/>
          <ac:picMkLst>
            <pc:docMk/>
            <pc:sldMk cId="119605602" sldId="2147375269"/>
            <ac:picMk id="27" creationId="{DD12BF29-CD6E-4C3E-A7F2-6FAC9813C03E}"/>
          </ac:picMkLst>
        </pc:picChg>
        <pc:picChg chg="add mod modCrop">
          <ac:chgData name="Oltmann, Mareike (DI MC MTS DG VAL)" userId="e9d180a7-92fa-4729-bbe0-3cd6fe0b20a6" providerId="ADAL" clId="{AD476B4C-CC52-40DA-870F-FC0BE6B3AEF1}" dt="2022-05-20T10:55:11.716" v="5925" actId="1076"/>
          <ac:picMkLst>
            <pc:docMk/>
            <pc:sldMk cId="119605602" sldId="2147375269"/>
            <ac:picMk id="28" creationId="{BC787BCF-0BA6-45F2-B839-328C521C7D82}"/>
          </ac:picMkLst>
        </pc:picChg>
        <pc:picChg chg="add mod modCrop">
          <ac:chgData name="Oltmann, Mareike (DI MC MTS DG VAL)" userId="e9d180a7-92fa-4729-bbe0-3cd6fe0b20a6" providerId="ADAL" clId="{AD476B4C-CC52-40DA-870F-FC0BE6B3AEF1}" dt="2022-05-20T10:55:20.050" v="5926" actId="1076"/>
          <ac:picMkLst>
            <pc:docMk/>
            <pc:sldMk cId="119605602" sldId="2147375269"/>
            <ac:picMk id="29" creationId="{3A0357EA-CBDC-4771-AADF-DD92DC07306F}"/>
          </ac:picMkLst>
        </pc:picChg>
        <pc:picChg chg="add del mod">
          <ac:chgData name="Oltmann, Mareike (DI MC MTS DG VAL)" userId="e9d180a7-92fa-4729-bbe0-3cd6fe0b20a6" providerId="ADAL" clId="{AD476B4C-CC52-40DA-870F-FC0BE6B3AEF1}" dt="2022-05-20T10:50:33.038" v="5866" actId="478"/>
          <ac:picMkLst>
            <pc:docMk/>
            <pc:sldMk cId="119605602" sldId="2147375269"/>
            <ac:picMk id="30" creationId="{6A0C7E07-1D76-41C3-8417-CD1507544170}"/>
          </ac:picMkLst>
        </pc:picChg>
        <pc:picChg chg="add mod modCrop">
          <ac:chgData name="Oltmann, Mareike (DI MC MTS DG VAL)" userId="e9d180a7-92fa-4729-bbe0-3cd6fe0b20a6" providerId="ADAL" clId="{AD476B4C-CC52-40DA-870F-FC0BE6B3AEF1}" dt="2022-05-20T10:55:20.050" v="5926" actId="1076"/>
          <ac:picMkLst>
            <pc:docMk/>
            <pc:sldMk cId="119605602" sldId="2147375269"/>
            <ac:picMk id="31" creationId="{F8FF6F6E-3C2B-43A3-AD49-60CD82367115}"/>
          </ac:picMkLst>
        </pc:picChg>
        <pc:picChg chg="add mod">
          <ac:chgData name="Oltmann, Mareike (DI MC MTS DG VAL)" userId="e9d180a7-92fa-4729-bbe0-3cd6fe0b20a6" providerId="ADAL" clId="{AD476B4C-CC52-40DA-870F-FC0BE6B3AEF1}" dt="2022-05-20T10:55:20.050" v="5926" actId="1076"/>
          <ac:picMkLst>
            <pc:docMk/>
            <pc:sldMk cId="119605602" sldId="2147375269"/>
            <ac:picMk id="32" creationId="{17E1C34E-4F35-485F-9A92-EFBECE0DDF59}"/>
          </ac:picMkLst>
        </pc:picChg>
        <pc:picChg chg="del mod">
          <ac:chgData name="Oltmann, Mareike (DI MC MTS DG VAL)" userId="e9d180a7-92fa-4729-bbe0-3cd6fe0b20a6" providerId="ADAL" clId="{AD476B4C-CC52-40DA-870F-FC0BE6B3AEF1}" dt="2022-05-20T11:44:54.788" v="6262" actId="478"/>
          <ac:picMkLst>
            <pc:docMk/>
            <pc:sldMk cId="119605602" sldId="2147375269"/>
            <ac:picMk id="123" creationId="{CD43D9EB-7027-4B73-8EF4-6F03AE25AD8C}"/>
          </ac:picMkLst>
        </pc:picChg>
        <pc:picChg chg="mod">
          <ac:chgData name="Oltmann, Mareike (DI MC MTS DG VAL)" userId="e9d180a7-92fa-4729-bbe0-3cd6fe0b20a6" providerId="ADAL" clId="{AD476B4C-CC52-40DA-870F-FC0BE6B3AEF1}" dt="2022-05-20T10:56:21.722" v="5943" actId="1076"/>
          <ac:picMkLst>
            <pc:docMk/>
            <pc:sldMk cId="119605602" sldId="2147375269"/>
            <ac:picMk id="124" creationId="{45396844-2031-4BD6-8329-065F0E44FF13}"/>
          </ac:picMkLst>
        </pc:picChg>
        <pc:cxnChg chg="del">
          <ac:chgData name="Oltmann, Mareike (DI MC MTS DG VAL)" userId="e9d180a7-92fa-4729-bbe0-3cd6fe0b20a6" providerId="ADAL" clId="{AD476B4C-CC52-40DA-870F-FC0BE6B3AEF1}" dt="2022-05-20T10:40:41.963" v="5768" actId="478"/>
          <ac:cxnSpMkLst>
            <pc:docMk/>
            <pc:sldMk cId="119605602" sldId="2147375269"/>
            <ac:cxnSpMk id="127" creationId="{CC33913C-BDD9-47B2-A0A2-BE44284935B1}"/>
          </ac:cxnSpMkLst>
        </pc:cxnChg>
      </pc:sldChg>
    </pc:docChg>
  </pc:docChgLst>
  <pc:docChgLst>
    <pc:chgData name="Oltmann, Mareike (DI MC MTS DG VAL)" userId="e9d180a7-92fa-4729-bbe0-3cd6fe0b20a6" providerId="ADAL" clId="{59405620-8A3E-462B-BE69-8D4876A7820E}"/>
    <pc:docChg chg="undo redo custSel addSld delSld modSld sldOrd modSection replTag">
      <pc:chgData name="Oltmann, Mareike (DI MC MTS DG VAL)" userId="e9d180a7-92fa-4729-bbe0-3cd6fe0b20a6" providerId="ADAL" clId="{59405620-8A3E-462B-BE69-8D4876A7820E}" dt="2023-07-06T09:03:29.713" v="2821" actId="20577"/>
      <pc:docMkLst>
        <pc:docMk/>
      </pc:docMkLst>
      <pc:sldChg chg="del mod modTransition modShow">
        <pc:chgData name="Oltmann, Mareike (DI MC MTS DG VAL)" userId="e9d180a7-92fa-4729-bbe0-3cd6fe0b20a6" providerId="ADAL" clId="{59405620-8A3E-462B-BE69-8D4876A7820E}" dt="2023-07-04T12:19:16.037" v="1989" actId="47"/>
        <pc:sldMkLst>
          <pc:docMk/>
          <pc:sldMk cId="968877260" sldId="257"/>
        </pc:sldMkLst>
      </pc:sldChg>
      <pc:sldChg chg="del mod modTransition modShow">
        <pc:chgData name="Oltmann, Mareike (DI MC MTS DG VAL)" userId="e9d180a7-92fa-4729-bbe0-3cd6fe0b20a6" providerId="ADAL" clId="{59405620-8A3E-462B-BE69-8D4876A7820E}" dt="2023-07-04T12:19:18.774" v="1990" actId="47"/>
        <pc:sldMkLst>
          <pc:docMk/>
          <pc:sldMk cId="2203963773" sldId="479"/>
        </pc:sldMkLst>
      </pc:sldChg>
      <pc:sldChg chg="del mod modTransition modShow">
        <pc:chgData name="Oltmann, Mareike (DI MC MTS DG VAL)" userId="e9d180a7-92fa-4729-bbe0-3cd6fe0b20a6" providerId="ADAL" clId="{59405620-8A3E-462B-BE69-8D4876A7820E}" dt="2023-07-04T12:19:15.036" v="1988" actId="47"/>
        <pc:sldMkLst>
          <pc:docMk/>
          <pc:sldMk cId="3946614053" sldId="985"/>
        </pc:sldMkLst>
      </pc:sldChg>
      <pc:sldChg chg="modSp mod">
        <pc:chgData name="Oltmann, Mareike (DI MC MTS DG VAL)" userId="e9d180a7-92fa-4729-bbe0-3cd6fe0b20a6" providerId="ADAL" clId="{59405620-8A3E-462B-BE69-8D4876A7820E}" dt="2023-07-04T12:20:30.671" v="2170" actId="20577"/>
        <pc:sldMkLst>
          <pc:docMk/>
          <pc:sldMk cId="3228718504" sldId="1040"/>
        </pc:sldMkLst>
        <pc:spChg chg="mod">
          <ac:chgData name="Oltmann, Mareike (DI MC MTS DG VAL)" userId="e9d180a7-92fa-4729-bbe0-3cd6fe0b20a6" providerId="ADAL" clId="{59405620-8A3E-462B-BE69-8D4876A7820E}" dt="2023-07-04T12:20:30.671" v="2170" actId="20577"/>
          <ac:spMkLst>
            <pc:docMk/>
            <pc:sldMk cId="3228718504" sldId="1040"/>
            <ac:spMk id="8" creationId="{4D1EE4C3-41D8-4370-B406-F9BBA104F825}"/>
          </ac:spMkLst>
        </pc:spChg>
      </pc:sldChg>
      <pc:sldChg chg="del mod modTransition modShow">
        <pc:chgData name="Oltmann, Mareike (DI MC MTS DG VAL)" userId="e9d180a7-92fa-4729-bbe0-3cd6fe0b20a6" providerId="ADAL" clId="{59405620-8A3E-462B-BE69-8D4876A7820E}" dt="2023-07-04T08:31:00.953" v="545" actId="47"/>
        <pc:sldMkLst>
          <pc:docMk/>
          <pc:sldMk cId="3225545642" sldId="1041"/>
        </pc:sldMkLst>
      </pc:sldChg>
      <pc:sldChg chg="del">
        <pc:chgData name="Oltmann, Mareike (DI MC MTS DG VAL)" userId="e9d180a7-92fa-4729-bbe0-3cd6fe0b20a6" providerId="ADAL" clId="{59405620-8A3E-462B-BE69-8D4876A7820E}" dt="2023-07-04T12:31:28.294" v="2209" actId="47"/>
        <pc:sldMkLst>
          <pc:docMk/>
          <pc:sldMk cId="2122384194" sldId="3680"/>
        </pc:sldMkLst>
      </pc:sldChg>
      <pc:sldChg chg="del">
        <pc:chgData name="Oltmann, Mareike (DI MC MTS DG VAL)" userId="e9d180a7-92fa-4729-bbe0-3cd6fe0b20a6" providerId="ADAL" clId="{59405620-8A3E-462B-BE69-8D4876A7820E}" dt="2023-07-04T12:31:30.446" v="2210" actId="47"/>
        <pc:sldMkLst>
          <pc:docMk/>
          <pc:sldMk cId="2690833945" sldId="3681"/>
        </pc:sldMkLst>
      </pc:sldChg>
      <pc:sldChg chg="del">
        <pc:chgData name="Oltmann, Mareike (DI MC MTS DG VAL)" userId="e9d180a7-92fa-4729-bbe0-3cd6fe0b20a6" providerId="ADAL" clId="{59405620-8A3E-462B-BE69-8D4876A7820E}" dt="2023-07-04T12:31:33.739" v="2211" actId="47"/>
        <pc:sldMkLst>
          <pc:docMk/>
          <pc:sldMk cId="100279808" sldId="3682"/>
        </pc:sldMkLst>
      </pc:sldChg>
      <pc:sldChg chg="addSp delSp modSp mod">
        <pc:chgData name="Oltmann, Mareike (DI MC MTS DG VAL)" userId="e9d180a7-92fa-4729-bbe0-3cd6fe0b20a6" providerId="ADAL" clId="{59405620-8A3E-462B-BE69-8D4876A7820E}" dt="2023-07-04T08:29:42.749" v="542"/>
        <pc:sldMkLst>
          <pc:docMk/>
          <pc:sldMk cId="1410649041" sldId="4210"/>
        </pc:sldMkLst>
        <pc:spChg chg="add del mod modVis">
          <ac:chgData name="Oltmann, Mareike (DI MC MTS DG VAL)" userId="e9d180a7-92fa-4729-bbe0-3cd6fe0b20a6" providerId="ADAL" clId="{59405620-8A3E-462B-BE69-8D4876A7820E}" dt="2023-07-03T16:37:16.058" v="98"/>
          <ac:spMkLst>
            <pc:docMk/>
            <pc:sldMk cId="1410649041" sldId="4210"/>
            <ac:spMk id="3" creationId="{68ACC0F3-C2C9-C969-2C89-284135AE0A7B}"/>
          </ac:spMkLst>
        </pc:spChg>
        <pc:spChg chg="add del mod modVis">
          <ac:chgData name="Oltmann, Mareike (DI MC MTS DG VAL)" userId="e9d180a7-92fa-4729-bbe0-3cd6fe0b20a6" providerId="ADAL" clId="{59405620-8A3E-462B-BE69-8D4876A7820E}" dt="2023-07-03T16:37:17.793" v="145"/>
          <ac:spMkLst>
            <pc:docMk/>
            <pc:sldMk cId="1410649041" sldId="4210"/>
            <ac:spMk id="4" creationId="{A24DC3B9-06AD-758D-0A64-0F08AF35A0A6}"/>
          </ac:spMkLst>
        </pc:spChg>
        <pc:spChg chg="add del mod modVis">
          <ac:chgData name="Oltmann, Mareike (DI MC MTS DG VAL)" userId="e9d180a7-92fa-4729-bbe0-3cd6fe0b20a6" providerId="ADAL" clId="{59405620-8A3E-462B-BE69-8D4876A7820E}" dt="2023-07-03T16:37:32.439" v="191"/>
          <ac:spMkLst>
            <pc:docMk/>
            <pc:sldMk cId="1410649041" sldId="4210"/>
            <ac:spMk id="5" creationId="{3D9DF99B-5EAA-4F90-1664-C35D5E585CF2}"/>
          </ac:spMkLst>
        </pc:spChg>
        <pc:spChg chg="mod">
          <ac:chgData name="Oltmann, Mareike (DI MC MTS DG VAL)" userId="e9d180a7-92fa-4729-bbe0-3cd6fe0b20a6" providerId="ADAL" clId="{59405620-8A3E-462B-BE69-8D4876A7820E}" dt="2023-07-04T08:29:42.656" v="493" actId="948"/>
          <ac:spMkLst>
            <pc:docMk/>
            <pc:sldMk cId="1410649041" sldId="4210"/>
            <ac:spMk id="6" creationId="{DA865AB3-8AE0-4AB0-94C2-2E517EC147DE}"/>
          </ac:spMkLst>
        </pc:spChg>
        <pc:spChg chg="add del mod modVis">
          <ac:chgData name="Oltmann, Mareike (DI MC MTS DG VAL)" userId="e9d180a7-92fa-4729-bbe0-3cd6fe0b20a6" providerId="ADAL" clId="{59405620-8A3E-462B-BE69-8D4876A7820E}" dt="2023-07-03T16:37:33.357" v="237"/>
          <ac:spMkLst>
            <pc:docMk/>
            <pc:sldMk cId="1410649041" sldId="4210"/>
            <ac:spMk id="7" creationId="{E24A0B04-51F4-5F8A-32F3-B76C6DC43668}"/>
          </ac:spMkLst>
        </pc:spChg>
        <pc:spChg chg="add del mod modVis">
          <ac:chgData name="Oltmann, Mareike (DI MC MTS DG VAL)" userId="e9d180a7-92fa-4729-bbe0-3cd6fe0b20a6" providerId="ADAL" clId="{59405620-8A3E-462B-BE69-8D4876A7820E}" dt="2023-07-03T16:37:35.946" v="289"/>
          <ac:spMkLst>
            <pc:docMk/>
            <pc:sldMk cId="1410649041" sldId="4210"/>
            <ac:spMk id="8" creationId="{9D37318C-C2D1-EE1B-BFC0-70A61937E99B}"/>
          </ac:spMkLst>
        </pc:spChg>
        <pc:spChg chg="add del mod modVis">
          <ac:chgData name="Oltmann, Mareike (DI MC MTS DG VAL)" userId="e9d180a7-92fa-4729-bbe0-3cd6fe0b20a6" providerId="ADAL" clId="{59405620-8A3E-462B-BE69-8D4876A7820E}" dt="2023-07-03T16:37:36.279" v="335"/>
          <ac:spMkLst>
            <pc:docMk/>
            <pc:sldMk cId="1410649041" sldId="4210"/>
            <ac:spMk id="10" creationId="{C10A9A51-DC5D-8553-0515-7A41DCC17947}"/>
          </ac:spMkLst>
        </pc:spChg>
        <pc:spChg chg="add del mod modVis">
          <ac:chgData name="Oltmann, Mareike (DI MC MTS DG VAL)" userId="e9d180a7-92fa-4729-bbe0-3cd6fe0b20a6" providerId="ADAL" clId="{59405620-8A3E-462B-BE69-8D4876A7820E}" dt="2023-07-03T16:37:37.218" v="381"/>
          <ac:spMkLst>
            <pc:docMk/>
            <pc:sldMk cId="1410649041" sldId="4210"/>
            <ac:spMk id="11" creationId="{6105E19C-6226-BD96-121E-72AF10BD8C42}"/>
          </ac:spMkLst>
        </pc:spChg>
        <pc:spChg chg="add del mod modVis">
          <ac:chgData name="Oltmann, Mareike (DI MC MTS DG VAL)" userId="e9d180a7-92fa-4729-bbe0-3cd6fe0b20a6" providerId="ADAL" clId="{59405620-8A3E-462B-BE69-8D4876A7820E}" dt="2023-07-04T08:29:28.099" v="434"/>
          <ac:spMkLst>
            <pc:docMk/>
            <pc:sldMk cId="1410649041" sldId="4210"/>
            <ac:spMk id="12" creationId="{5FCA90AF-228F-2A75-AC4B-B743E8057A2A}"/>
          </ac:spMkLst>
        </pc:spChg>
        <pc:spChg chg="add del mod modVis">
          <ac:chgData name="Oltmann, Mareike (DI MC MTS DG VAL)" userId="e9d180a7-92fa-4729-bbe0-3cd6fe0b20a6" providerId="ADAL" clId="{59405620-8A3E-462B-BE69-8D4876A7820E}" dt="2023-07-04T08:29:30.838" v="486"/>
          <ac:spMkLst>
            <pc:docMk/>
            <pc:sldMk cId="1410649041" sldId="4210"/>
            <ac:spMk id="13" creationId="{186E0F40-D780-DD8B-6FB9-9289AE977682}"/>
          </ac:spMkLst>
        </pc:spChg>
        <pc:spChg chg="add del mod modVis">
          <ac:chgData name="Oltmann, Mareike (DI MC MTS DG VAL)" userId="e9d180a7-92fa-4729-bbe0-3cd6fe0b20a6" providerId="ADAL" clId="{59405620-8A3E-462B-BE69-8D4876A7820E}" dt="2023-07-04T08:29:42.745" v="540"/>
          <ac:spMkLst>
            <pc:docMk/>
            <pc:sldMk cId="1410649041" sldId="4210"/>
            <ac:spMk id="14" creationId="{E9A93A4B-57E6-C648-DC6A-EFE0D3AA97A5}"/>
          </ac:spMkLst>
        </pc:spChg>
        <pc:graphicFrameChg chg="mod">
          <ac:chgData name="Oltmann, Mareike (DI MC MTS DG VAL)" userId="e9d180a7-92fa-4729-bbe0-3cd6fe0b20a6" providerId="ADAL" clId="{59405620-8A3E-462B-BE69-8D4876A7820E}" dt="2023-07-04T08:29:42.749" v="542"/>
          <ac:graphicFrameMkLst>
            <pc:docMk/>
            <pc:sldMk cId="1410649041" sldId="4210"/>
            <ac:graphicFrameMk id="9" creationId="{A3530919-37CE-4281-9024-C2846FA52F6E}"/>
          </ac:graphicFrameMkLst>
        </pc:graphicFrameChg>
      </pc:sldChg>
      <pc:sldChg chg="del">
        <pc:chgData name="Oltmann, Mareike (DI MC MTS DG VAL)" userId="e9d180a7-92fa-4729-bbe0-3cd6fe0b20a6" providerId="ADAL" clId="{59405620-8A3E-462B-BE69-8D4876A7820E}" dt="2023-07-03T16:28:43.224" v="47" actId="47"/>
        <pc:sldMkLst>
          <pc:docMk/>
          <pc:sldMk cId="3278793332" sldId="2142532503"/>
        </pc:sldMkLst>
      </pc:sldChg>
      <pc:sldChg chg="del mod modTransition modShow">
        <pc:chgData name="Oltmann, Mareike (DI MC MTS DG VAL)" userId="e9d180a7-92fa-4729-bbe0-3cd6fe0b20a6" providerId="ADAL" clId="{59405620-8A3E-462B-BE69-8D4876A7820E}" dt="2023-07-04T12:19:19.693" v="1991" actId="47"/>
        <pc:sldMkLst>
          <pc:docMk/>
          <pc:sldMk cId="1543241090" sldId="2147375265"/>
        </pc:sldMkLst>
      </pc:sldChg>
      <pc:sldChg chg="del mod modTransition modShow">
        <pc:chgData name="Oltmann, Mareike (DI MC MTS DG VAL)" userId="e9d180a7-92fa-4729-bbe0-3cd6fe0b20a6" providerId="ADAL" clId="{59405620-8A3E-462B-BE69-8D4876A7820E}" dt="2023-07-04T12:19:24.293" v="1993" actId="47"/>
        <pc:sldMkLst>
          <pc:docMk/>
          <pc:sldMk cId="3947047718" sldId="2147375266"/>
        </pc:sldMkLst>
      </pc:sldChg>
      <pc:sldChg chg="del mod modTransition modShow">
        <pc:chgData name="Oltmann, Mareike (DI MC MTS DG VAL)" userId="e9d180a7-92fa-4729-bbe0-3cd6fe0b20a6" providerId="ADAL" clId="{59405620-8A3E-462B-BE69-8D4876A7820E}" dt="2023-07-04T12:19:22.108" v="1992" actId="47"/>
        <pc:sldMkLst>
          <pc:docMk/>
          <pc:sldMk cId="1210315600" sldId="2147375267"/>
        </pc:sldMkLst>
      </pc:sldChg>
      <pc:sldChg chg="addSp delSp modSp del mod">
        <pc:chgData name="Oltmann, Mareike (DI MC MTS DG VAL)" userId="e9d180a7-92fa-4729-bbe0-3cd6fe0b20a6" providerId="ADAL" clId="{59405620-8A3E-462B-BE69-8D4876A7820E}" dt="2023-07-04T12:19:48.534" v="2039" actId="47"/>
        <pc:sldMkLst>
          <pc:docMk/>
          <pc:sldMk cId="119605602" sldId="2147375269"/>
        </pc:sldMkLst>
        <pc:spChg chg="mod">
          <ac:chgData name="Oltmann, Mareike (DI MC MTS DG VAL)" userId="e9d180a7-92fa-4729-bbe0-3cd6fe0b20a6" providerId="ADAL" clId="{59405620-8A3E-462B-BE69-8D4876A7820E}" dt="2023-07-04T12:19:39.212" v="1995" actId="948"/>
          <ac:spMkLst>
            <pc:docMk/>
            <pc:sldMk cId="119605602" sldId="2147375269"/>
            <ac:spMk id="2" creationId="{00000000-0000-0000-0000-000000000000}"/>
          </ac:spMkLst>
        </pc:spChg>
        <pc:spChg chg="add del mod modVis">
          <ac:chgData name="Oltmann, Mareike (DI MC MTS DG VAL)" userId="e9d180a7-92fa-4729-bbe0-3cd6fe0b20a6" providerId="ADAL" clId="{59405620-8A3E-462B-BE69-8D4876A7820E}" dt="2023-07-04T12:19:39.281" v="2036"/>
          <ac:spMkLst>
            <pc:docMk/>
            <pc:sldMk cId="119605602" sldId="2147375269"/>
            <ac:spMk id="3" creationId="{F01D8A46-78E7-71E4-FD14-EB9DC9F18400}"/>
          </ac:spMkLst>
        </pc:spChg>
        <pc:graphicFrameChg chg="mod">
          <ac:chgData name="Oltmann, Mareike (DI MC MTS DG VAL)" userId="e9d180a7-92fa-4729-bbe0-3cd6fe0b20a6" providerId="ADAL" clId="{59405620-8A3E-462B-BE69-8D4876A7820E}" dt="2023-07-04T12:19:39.296" v="2038"/>
          <ac:graphicFrameMkLst>
            <pc:docMk/>
            <pc:sldMk cId="119605602" sldId="2147375269"/>
            <ac:graphicFrameMk id="117" creationId="{00000000-0000-0000-0000-000000000000}"/>
          </ac:graphicFrameMkLst>
        </pc:graphicFrameChg>
      </pc:sldChg>
      <pc:sldChg chg="modSp add mod ord">
        <pc:chgData name="Oltmann, Mareike (DI MC MTS DG VAL)" userId="e9d180a7-92fa-4729-bbe0-3cd6fe0b20a6" providerId="ADAL" clId="{59405620-8A3E-462B-BE69-8D4876A7820E}" dt="2023-07-04T13:33:34.427" v="2386" actId="20577"/>
        <pc:sldMkLst>
          <pc:docMk/>
          <pc:sldMk cId="361074184" sldId="2147375270"/>
        </pc:sldMkLst>
        <pc:graphicFrameChg chg="mod modGraphic">
          <ac:chgData name="Oltmann, Mareike (DI MC MTS DG VAL)" userId="e9d180a7-92fa-4729-bbe0-3cd6fe0b20a6" providerId="ADAL" clId="{59405620-8A3E-462B-BE69-8D4876A7820E}" dt="2023-07-04T13:33:34.427" v="2386" actId="20577"/>
          <ac:graphicFrameMkLst>
            <pc:docMk/>
            <pc:sldMk cId="361074184" sldId="2147375270"/>
            <ac:graphicFrameMk id="10" creationId="{F02B6DB2-0D57-4592-BC60-FCF13DF4243F}"/>
          </ac:graphicFrameMkLst>
        </pc:graphicFrameChg>
      </pc:sldChg>
      <pc:sldChg chg="addSp delSp modSp add mod">
        <pc:chgData name="Oltmann, Mareike (DI MC MTS DG VAL)" userId="e9d180a7-92fa-4729-bbe0-3cd6fe0b20a6" providerId="ADAL" clId="{59405620-8A3E-462B-BE69-8D4876A7820E}" dt="2023-07-04T12:59:46.155" v="2369" actId="20577"/>
        <pc:sldMkLst>
          <pc:docMk/>
          <pc:sldMk cId="3885868997" sldId="2147375271"/>
        </pc:sldMkLst>
        <pc:spChg chg="mod">
          <ac:chgData name="Oltmann, Mareike (DI MC MTS DG VAL)" userId="e9d180a7-92fa-4729-bbe0-3cd6fe0b20a6" providerId="ADAL" clId="{59405620-8A3E-462B-BE69-8D4876A7820E}" dt="2023-07-04T11:48:21.539" v="1635"/>
          <ac:spMkLst>
            <pc:docMk/>
            <pc:sldMk cId="3885868997" sldId="2147375271"/>
            <ac:spMk id="2" creationId="{85AF2D14-0DA1-51B8-6761-55DB8C39C3D8}"/>
          </ac:spMkLst>
        </pc:spChg>
        <pc:spChg chg="add del mod">
          <ac:chgData name="Oltmann, Mareike (DI MC MTS DG VAL)" userId="e9d180a7-92fa-4729-bbe0-3cd6fe0b20a6" providerId="ADAL" clId="{59405620-8A3E-462B-BE69-8D4876A7820E}" dt="2023-07-04T11:48:21.539" v="1635"/>
          <ac:spMkLst>
            <pc:docMk/>
            <pc:sldMk cId="3885868997" sldId="2147375271"/>
            <ac:spMk id="3" creationId="{2AB0E7E2-1954-6574-3AB2-5776204837E8}"/>
          </ac:spMkLst>
        </pc:spChg>
        <pc:spChg chg="add del mod">
          <ac:chgData name="Oltmann, Mareike (DI MC MTS DG VAL)" userId="e9d180a7-92fa-4729-bbe0-3cd6fe0b20a6" providerId="ADAL" clId="{59405620-8A3E-462B-BE69-8D4876A7820E}" dt="2023-07-04T11:48:21.539" v="1635"/>
          <ac:spMkLst>
            <pc:docMk/>
            <pc:sldMk cId="3885868997" sldId="2147375271"/>
            <ac:spMk id="4" creationId="{11ABB3C9-B04A-06B5-902D-AE4B0BB1895E}"/>
          </ac:spMkLst>
        </pc:spChg>
        <pc:spChg chg="mod">
          <ac:chgData name="Oltmann, Mareike (DI MC MTS DG VAL)" userId="e9d180a7-92fa-4729-bbe0-3cd6fe0b20a6" providerId="ADAL" clId="{59405620-8A3E-462B-BE69-8D4876A7820E}" dt="2023-07-04T11:48:21.539" v="1635"/>
          <ac:spMkLst>
            <pc:docMk/>
            <pc:sldMk cId="3885868997" sldId="2147375271"/>
            <ac:spMk id="6" creationId="{B5093E6F-15BB-9B57-BDA6-B72884CA7A03}"/>
          </ac:spMkLst>
        </pc:spChg>
        <pc:spChg chg="add del mod">
          <ac:chgData name="Oltmann, Mareike (DI MC MTS DG VAL)" userId="e9d180a7-92fa-4729-bbe0-3cd6fe0b20a6" providerId="ADAL" clId="{59405620-8A3E-462B-BE69-8D4876A7820E}" dt="2023-07-04T11:48:30.802" v="1636" actId="478"/>
          <ac:spMkLst>
            <pc:docMk/>
            <pc:sldMk cId="3885868997" sldId="2147375271"/>
            <ac:spMk id="7" creationId="{21D72B63-9A6C-54AD-EB3E-D4C0E16CC3C9}"/>
          </ac:spMkLst>
        </pc:spChg>
        <pc:spChg chg="mod">
          <ac:chgData name="Oltmann, Mareike (DI MC MTS DG VAL)" userId="e9d180a7-92fa-4729-bbe0-3cd6fe0b20a6" providerId="ADAL" clId="{59405620-8A3E-462B-BE69-8D4876A7820E}" dt="2023-07-04T12:59:46.155" v="2369" actId="20577"/>
          <ac:spMkLst>
            <pc:docMk/>
            <pc:sldMk cId="3885868997" sldId="2147375271"/>
            <ac:spMk id="8" creationId="{DCF35E38-EB7D-453C-8BF9-70680911CF1F}"/>
          </ac:spMkLst>
        </pc:spChg>
        <pc:spChg chg="mod">
          <ac:chgData name="Oltmann, Mareike (DI MC MTS DG VAL)" userId="e9d180a7-92fa-4729-bbe0-3cd6fe0b20a6" providerId="ADAL" clId="{59405620-8A3E-462B-BE69-8D4876A7820E}" dt="2023-07-04T12:42:35.469" v="2220" actId="14100"/>
          <ac:spMkLst>
            <pc:docMk/>
            <pc:sldMk cId="3885868997" sldId="2147375271"/>
            <ac:spMk id="22" creationId="{F8614E97-32F8-4D21-A327-E68A1A06C7C4}"/>
          </ac:spMkLst>
        </pc:spChg>
        <pc:graphicFrameChg chg="add mod ord modVis replST">
          <ac:chgData name="Oltmann, Mareike (DI MC MTS DG VAL)" userId="e9d180a7-92fa-4729-bbe0-3cd6fe0b20a6" providerId="ADAL" clId="{59405620-8A3E-462B-BE69-8D4876A7820E}" dt="2023-07-04T11:48:31.377" v="1654"/>
          <ac:graphicFrameMkLst>
            <pc:docMk/>
            <pc:sldMk cId="3885868997" sldId="2147375271"/>
            <ac:graphicFrameMk id="9" creationId="{5F9E719F-1CAF-022B-895C-3BE1829AE3BF}"/>
          </ac:graphicFrameMkLst>
        </pc:graphicFrameChg>
        <pc:picChg chg="mod">
          <ac:chgData name="Oltmann, Mareike (DI MC MTS DG VAL)" userId="e9d180a7-92fa-4729-bbe0-3cd6fe0b20a6" providerId="ADAL" clId="{59405620-8A3E-462B-BE69-8D4876A7820E}" dt="2023-07-04T11:48:45.369" v="1655" actId="1076"/>
          <ac:picMkLst>
            <pc:docMk/>
            <pc:sldMk cId="3885868997" sldId="2147375271"/>
            <ac:picMk id="24" creationId="{730C3939-0682-4B6D-96B6-FE837DCFF332}"/>
          </ac:picMkLst>
        </pc:picChg>
      </pc:sldChg>
      <pc:sldChg chg="addSp delSp modSp add mod">
        <pc:chgData name="Oltmann, Mareike (DI MC MTS DG VAL)" userId="e9d180a7-92fa-4729-bbe0-3cd6fe0b20a6" providerId="ADAL" clId="{59405620-8A3E-462B-BE69-8D4876A7820E}" dt="2023-07-04T13:38:59.250" v="2437" actId="20577"/>
        <pc:sldMkLst>
          <pc:docMk/>
          <pc:sldMk cId="258614327" sldId="2147375272"/>
        </pc:sldMkLst>
        <pc:spChg chg="mod">
          <ac:chgData name="Oltmann, Mareike (DI MC MTS DG VAL)" userId="e9d180a7-92fa-4729-bbe0-3cd6fe0b20a6" providerId="ADAL" clId="{59405620-8A3E-462B-BE69-8D4876A7820E}" dt="2023-07-04T09:12:21.576" v="786"/>
          <ac:spMkLst>
            <pc:docMk/>
            <pc:sldMk cId="258614327" sldId="2147375272"/>
            <ac:spMk id="3" creationId="{3C58C7F8-0E06-4B11-B9F3-8351E44EF152}"/>
          </ac:spMkLst>
        </pc:spChg>
        <pc:spChg chg="add del mod modVis">
          <ac:chgData name="Oltmann, Mareike (DI MC MTS DG VAL)" userId="e9d180a7-92fa-4729-bbe0-3cd6fe0b20a6" providerId="ADAL" clId="{59405620-8A3E-462B-BE69-8D4876A7820E}" dt="2023-07-04T09:10:44.725" v="686"/>
          <ac:spMkLst>
            <pc:docMk/>
            <pc:sldMk cId="258614327" sldId="2147375272"/>
            <ac:spMk id="5" creationId="{056218F1-03D2-D14B-5D2F-E9D0CC8DC741}"/>
          </ac:spMkLst>
        </pc:spChg>
        <pc:spChg chg="mod ord">
          <ac:chgData name="Oltmann, Mareike (DI MC MTS DG VAL)" userId="e9d180a7-92fa-4729-bbe0-3cd6fe0b20a6" providerId="ADAL" clId="{59405620-8A3E-462B-BE69-8D4876A7820E}" dt="2023-07-04T09:12:21.576" v="794"/>
          <ac:spMkLst>
            <pc:docMk/>
            <pc:sldMk cId="258614327" sldId="2147375272"/>
            <ac:spMk id="7" creationId="{845E8591-094C-458E-BE2D-49D7EE6588DC}"/>
          </ac:spMkLst>
        </pc:spChg>
        <pc:spChg chg="mod ord">
          <ac:chgData name="Oltmann, Mareike (DI MC MTS DG VAL)" userId="e9d180a7-92fa-4729-bbe0-3cd6fe0b20a6" providerId="ADAL" clId="{59405620-8A3E-462B-BE69-8D4876A7820E}" dt="2023-07-04T09:12:59.663" v="817" actId="14100"/>
          <ac:spMkLst>
            <pc:docMk/>
            <pc:sldMk cId="258614327" sldId="2147375272"/>
            <ac:spMk id="8" creationId="{B8B9FEA1-5AAB-45F2-8F04-F346E56A4559}"/>
          </ac:spMkLst>
        </pc:spChg>
        <pc:spChg chg="mod ord">
          <ac:chgData name="Oltmann, Mareike (DI MC MTS DG VAL)" userId="e9d180a7-92fa-4729-bbe0-3cd6fe0b20a6" providerId="ADAL" clId="{59405620-8A3E-462B-BE69-8D4876A7820E}" dt="2023-07-04T09:12:21.576" v="798"/>
          <ac:spMkLst>
            <pc:docMk/>
            <pc:sldMk cId="258614327" sldId="2147375272"/>
            <ac:spMk id="10" creationId="{146F2D75-B0D1-E5E6-89F9-BAC475FEAD69}"/>
          </ac:spMkLst>
        </pc:spChg>
        <pc:spChg chg="mod ord">
          <ac:chgData name="Oltmann, Mareike (DI MC MTS DG VAL)" userId="e9d180a7-92fa-4729-bbe0-3cd6fe0b20a6" providerId="ADAL" clId="{59405620-8A3E-462B-BE69-8D4876A7820E}" dt="2023-07-04T09:12:21.592" v="800"/>
          <ac:spMkLst>
            <pc:docMk/>
            <pc:sldMk cId="258614327" sldId="2147375272"/>
            <ac:spMk id="11" creationId="{6218FDDB-28E1-2589-7A09-4F05F090A44D}"/>
          </ac:spMkLst>
        </pc:spChg>
        <pc:spChg chg="mod ord">
          <ac:chgData name="Oltmann, Mareike (DI MC MTS DG VAL)" userId="e9d180a7-92fa-4729-bbe0-3cd6fe0b20a6" providerId="ADAL" clId="{59405620-8A3E-462B-BE69-8D4876A7820E}" dt="2023-07-04T09:14:06.203" v="823" actId="1076"/>
          <ac:spMkLst>
            <pc:docMk/>
            <pc:sldMk cId="258614327" sldId="2147375272"/>
            <ac:spMk id="12" creationId="{74A1DEAB-00AE-329A-212D-E63F0BBD34B3}"/>
          </ac:spMkLst>
        </pc:spChg>
        <pc:spChg chg="mod ord">
          <ac:chgData name="Oltmann, Mareike (DI MC MTS DG VAL)" userId="e9d180a7-92fa-4729-bbe0-3cd6fe0b20a6" providerId="ADAL" clId="{59405620-8A3E-462B-BE69-8D4876A7820E}" dt="2023-07-04T12:28:08.137" v="2193" actId="1076"/>
          <ac:spMkLst>
            <pc:docMk/>
            <pc:sldMk cId="258614327" sldId="2147375272"/>
            <ac:spMk id="22" creationId="{980F0221-5101-4C7F-8318-B1A9E145C8F6}"/>
          </ac:spMkLst>
        </pc:spChg>
        <pc:spChg chg="mod ord">
          <ac:chgData name="Oltmann, Mareike (DI MC MTS DG VAL)" userId="e9d180a7-92fa-4729-bbe0-3cd6fe0b20a6" providerId="ADAL" clId="{59405620-8A3E-462B-BE69-8D4876A7820E}" dt="2023-07-04T13:38:59.250" v="2437" actId="20577"/>
          <ac:spMkLst>
            <pc:docMk/>
            <pc:sldMk cId="258614327" sldId="2147375272"/>
            <ac:spMk id="23" creationId="{5E1134AA-4EB7-4AE4-88D8-3502E0099F66}"/>
          </ac:spMkLst>
        </pc:spChg>
        <pc:graphicFrameChg chg="mod">
          <ac:chgData name="Oltmann, Mareike (DI MC MTS DG VAL)" userId="e9d180a7-92fa-4729-bbe0-3cd6fe0b20a6" providerId="ADAL" clId="{59405620-8A3E-462B-BE69-8D4876A7820E}" dt="2023-07-04T09:12:21.592" v="808"/>
          <ac:graphicFrameMkLst>
            <pc:docMk/>
            <pc:sldMk cId="258614327" sldId="2147375272"/>
            <ac:graphicFrameMk id="4" creationId="{D2AE3AEB-1372-4018-A74B-C9F4D007F395}"/>
          </ac:graphicFrameMkLst>
        </pc:graphicFrameChg>
        <pc:picChg chg="add mod ord modCrop">
          <ac:chgData name="Oltmann, Mareike (DI MC MTS DG VAL)" userId="e9d180a7-92fa-4729-bbe0-3cd6fe0b20a6" providerId="ADAL" clId="{59405620-8A3E-462B-BE69-8D4876A7820E}" dt="2023-07-04T09:14:06.203" v="823" actId="1076"/>
          <ac:picMkLst>
            <pc:docMk/>
            <pc:sldMk cId="258614327" sldId="2147375272"/>
            <ac:picMk id="2" creationId="{EDB0478F-372B-597C-44D0-3A3F89FE2BF5}"/>
          </ac:picMkLst>
        </pc:picChg>
        <pc:picChg chg="add mod ord">
          <ac:chgData name="Oltmann, Mareike (DI MC MTS DG VAL)" userId="e9d180a7-92fa-4729-bbe0-3cd6fe0b20a6" providerId="ADAL" clId="{59405620-8A3E-462B-BE69-8D4876A7820E}" dt="2023-07-04T09:13:42.432" v="822" actId="1076"/>
          <ac:picMkLst>
            <pc:docMk/>
            <pc:sldMk cId="258614327" sldId="2147375272"/>
            <ac:picMk id="6" creationId="{1764EF25-1BEE-5A11-E6EC-585AA79EADA8}"/>
          </ac:picMkLst>
        </pc:picChg>
        <pc:picChg chg="add mod">
          <ac:chgData name="Oltmann, Mareike (DI MC MTS DG VAL)" userId="e9d180a7-92fa-4729-bbe0-3cd6fe0b20a6" providerId="ADAL" clId="{59405620-8A3E-462B-BE69-8D4876A7820E}" dt="2023-07-04T09:13:24.988" v="821"/>
          <ac:picMkLst>
            <pc:docMk/>
            <pc:sldMk cId="258614327" sldId="2147375272"/>
            <ac:picMk id="9" creationId="{23D65AA5-B3FB-54D1-6B27-2DD84B555CCE}"/>
          </ac:picMkLst>
        </pc:picChg>
        <pc:picChg chg="del mod ord">
          <ac:chgData name="Oltmann, Mareike (DI MC MTS DG VAL)" userId="e9d180a7-92fa-4729-bbe0-3cd6fe0b20a6" providerId="ADAL" clId="{59405620-8A3E-462B-BE69-8D4876A7820E}" dt="2023-07-04T09:12:37.402" v="814" actId="478"/>
          <ac:picMkLst>
            <pc:docMk/>
            <pc:sldMk cId="258614327" sldId="2147375272"/>
            <ac:picMk id="15" creationId="{1A9D8385-38F3-4496-8D48-6F4BA36249EE}"/>
          </ac:picMkLst>
        </pc:picChg>
        <pc:cxnChg chg="mod ord">
          <ac:chgData name="Oltmann, Mareike (DI MC MTS DG VAL)" userId="e9d180a7-92fa-4729-bbe0-3cd6fe0b20a6" providerId="ADAL" clId="{59405620-8A3E-462B-BE69-8D4876A7820E}" dt="2023-07-04T12:28:13.020" v="2194" actId="1076"/>
          <ac:cxnSpMkLst>
            <pc:docMk/>
            <pc:sldMk cId="258614327" sldId="2147375272"/>
            <ac:cxnSpMk id="24" creationId="{68EC42FE-8C51-4CD5-85FA-57C3ABE41BC7}"/>
          </ac:cxnSpMkLst>
        </pc:cxnChg>
      </pc:sldChg>
      <pc:sldChg chg="addSp modSp add mod">
        <pc:chgData name="Oltmann, Mareike (DI MC MTS DG VAL)" userId="e9d180a7-92fa-4729-bbe0-3cd6fe0b20a6" providerId="ADAL" clId="{59405620-8A3E-462B-BE69-8D4876A7820E}" dt="2023-07-04T11:34:21.571" v="1531" actId="1076"/>
        <pc:sldMkLst>
          <pc:docMk/>
          <pc:sldMk cId="4272915072" sldId="2147375842"/>
        </pc:sldMkLst>
        <pc:spChg chg="mod">
          <ac:chgData name="Oltmann, Mareike (DI MC MTS DG VAL)" userId="e9d180a7-92fa-4729-bbe0-3cd6fe0b20a6" providerId="ADAL" clId="{59405620-8A3E-462B-BE69-8D4876A7820E}" dt="2023-07-04T11:32:57.235" v="1526" actId="1076"/>
          <ac:spMkLst>
            <pc:docMk/>
            <pc:sldMk cId="4272915072" sldId="2147375842"/>
            <ac:spMk id="3" creationId="{24DA84A4-8DDA-01D6-A07E-A1A00388AAC0}"/>
          </ac:spMkLst>
        </pc:spChg>
        <pc:spChg chg="mod">
          <ac:chgData name="Oltmann, Mareike (DI MC MTS DG VAL)" userId="e9d180a7-92fa-4729-bbe0-3cd6fe0b20a6" providerId="ADAL" clId="{59405620-8A3E-462B-BE69-8D4876A7820E}" dt="2023-07-04T11:34:21.571" v="1531" actId="1076"/>
          <ac:spMkLst>
            <pc:docMk/>
            <pc:sldMk cId="4272915072" sldId="2147375842"/>
            <ac:spMk id="5" creationId="{585595CA-E65D-CA48-7F94-D6021EAE2D73}"/>
          </ac:spMkLst>
        </pc:spChg>
        <pc:spChg chg="mod">
          <ac:chgData name="Oltmann, Mareike (DI MC MTS DG VAL)" userId="e9d180a7-92fa-4729-bbe0-3cd6fe0b20a6" providerId="ADAL" clId="{59405620-8A3E-462B-BE69-8D4876A7820E}" dt="2023-07-04T11:32:57.235" v="1526" actId="1076"/>
          <ac:spMkLst>
            <pc:docMk/>
            <pc:sldMk cId="4272915072" sldId="2147375842"/>
            <ac:spMk id="6" creationId="{579B83C4-43E4-F747-C352-2BFEB78F8954}"/>
          </ac:spMkLst>
        </pc:spChg>
        <pc:spChg chg="mod">
          <ac:chgData name="Oltmann, Mareike (DI MC MTS DG VAL)" userId="e9d180a7-92fa-4729-bbe0-3cd6fe0b20a6" providerId="ADAL" clId="{59405620-8A3E-462B-BE69-8D4876A7820E}" dt="2023-07-04T11:33:34.305" v="1528" actId="1076"/>
          <ac:spMkLst>
            <pc:docMk/>
            <pc:sldMk cId="4272915072" sldId="2147375842"/>
            <ac:spMk id="7" creationId="{0C8A8A41-DA37-0FD3-8C5D-9C46D624D114}"/>
          </ac:spMkLst>
        </pc:spChg>
        <pc:spChg chg="mod">
          <ac:chgData name="Oltmann, Mareike (DI MC MTS DG VAL)" userId="e9d180a7-92fa-4729-bbe0-3cd6fe0b20a6" providerId="ADAL" clId="{59405620-8A3E-462B-BE69-8D4876A7820E}" dt="2023-07-04T11:32:57.235" v="1526" actId="1076"/>
          <ac:spMkLst>
            <pc:docMk/>
            <pc:sldMk cId="4272915072" sldId="2147375842"/>
            <ac:spMk id="9" creationId="{FE3C612E-EB2E-49BC-7906-3095A730A8A4}"/>
          </ac:spMkLst>
        </pc:spChg>
        <pc:spChg chg="mod">
          <ac:chgData name="Oltmann, Mareike (DI MC MTS DG VAL)" userId="e9d180a7-92fa-4729-bbe0-3cd6fe0b20a6" providerId="ADAL" clId="{59405620-8A3E-462B-BE69-8D4876A7820E}" dt="2023-07-04T09:05:17.721" v="558" actId="14100"/>
          <ac:spMkLst>
            <pc:docMk/>
            <pc:sldMk cId="4272915072" sldId="2147375842"/>
            <ac:spMk id="10" creationId="{879CA301-D34E-C3A1-EC4A-82D11422DA78}"/>
          </ac:spMkLst>
        </pc:spChg>
        <pc:spChg chg="mod">
          <ac:chgData name="Oltmann, Mareike (DI MC MTS DG VAL)" userId="e9d180a7-92fa-4729-bbe0-3cd6fe0b20a6" providerId="ADAL" clId="{59405620-8A3E-462B-BE69-8D4876A7820E}" dt="2023-07-04T08:37:54.379" v="553" actId="20577"/>
          <ac:spMkLst>
            <pc:docMk/>
            <pc:sldMk cId="4272915072" sldId="2147375842"/>
            <ac:spMk id="12" creationId="{61EDBBBB-2186-E424-9C8C-B66F1D6DF3C8}"/>
          </ac:spMkLst>
        </pc:spChg>
        <pc:spChg chg="mod">
          <ac:chgData name="Oltmann, Mareike (DI MC MTS DG VAL)" userId="e9d180a7-92fa-4729-bbe0-3cd6fe0b20a6" providerId="ADAL" clId="{59405620-8A3E-462B-BE69-8D4876A7820E}" dt="2023-07-04T11:32:50.694" v="1522" actId="1076"/>
          <ac:spMkLst>
            <pc:docMk/>
            <pc:sldMk cId="4272915072" sldId="2147375842"/>
            <ac:spMk id="13" creationId="{E3C3D6B5-1F8E-4FB3-71BB-99544FA20664}"/>
          </ac:spMkLst>
        </pc:spChg>
        <pc:spChg chg="mod">
          <ac:chgData name="Oltmann, Mareike (DI MC MTS DG VAL)" userId="e9d180a7-92fa-4729-bbe0-3cd6fe0b20a6" providerId="ADAL" clId="{59405620-8A3E-462B-BE69-8D4876A7820E}" dt="2023-07-04T11:29:27.366" v="1499" actId="14100"/>
          <ac:spMkLst>
            <pc:docMk/>
            <pc:sldMk cId="4272915072" sldId="2147375842"/>
            <ac:spMk id="34" creationId="{E43E06C2-4115-446E-A38A-28A02DCD1C70}"/>
          </ac:spMkLst>
        </pc:spChg>
        <pc:spChg chg="mod">
          <ac:chgData name="Oltmann, Mareike (DI MC MTS DG VAL)" userId="e9d180a7-92fa-4729-bbe0-3cd6fe0b20a6" providerId="ADAL" clId="{59405620-8A3E-462B-BE69-8D4876A7820E}" dt="2023-07-04T11:29:27.366" v="1499" actId="14100"/>
          <ac:spMkLst>
            <pc:docMk/>
            <pc:sldMk cId="4272915072" sldId="2147375842"/>
            <ac:spMk id="37" creationId="{28614BE8-DDD7-4596-A9CE-0784E831CD4A}"/>
          </ac:spMkLst>
        </pc:spChg>
        <pc:spChg chg="mod">
          <ac:chgData name="Oltmann, Mareike (DI MC MTS DG VAL)" userId="e9d180a7-92fa-4729-bbe0-3cd6fe0b20a6" providerId="ADAL" clId="{59405620-8A3E-462B-BE69-8D4876A7820E}" dt="2023-07-04T11:29:27.366" v="1499" actId="14100"/>
          <ac:spMkLst>
            <pc:docMk/>
            <pc:sldMk cId="4272915072" sldId="2147375842"/>
            <ac:spMk id="38" creationId="{3D6471D5-576F-45C3-A9E8-F01FCA554F1A}"/>
          </ac:spMkLst>
        </pc:spChg>
        <pc:spChg chg="mod">
          <ac:chgData name="Oltmann, Mareike (DI MC MTS DG VAL)" userId="e9d180a7-92fa-4729-bbe0-3cd6fe0b20a6" providerId="ADAL" clId="{59405620-8A3E-462B-BE69-8D4876A7820E}" dt="2023-07-04T11:33:56.697" v="1530" actId="14100"/>
          <ac:spMkLst>
            <pc:docMk/>
            <pc:sldMk cId="4272915072" sldId="2147375842"/>
            <ac:spMk id="114695" creationId="{392D187B-6AD2-F06A-8944-8E8F0DFE2896}"/>
          </ac:spMkLst>
        </pc:spChg>
        <pc:spChg chg="mod">
          <ac:chgData name="Oltmann, Mareike (DI MC MTS DG VAL)" userId="e9d180a7-92fa-4729-bbe0-3cd6fe0b20a6" providerId="ADAL" clId="{59405620-8A3E-462B-BE69-8D4876A7820E}" dt="2023-07-04T11:32:19.940" v="1518" actId="14100"/>
          <ac:spMkLst>
            <pc:docMk/>
            <pc:sldMk cId="4272915072" sldId="2147375842"/>
            <ac:spMk id="114696" creationId="{157EB3E4-E197-9124-7707-3CDF86D00965}"/>
          </ac:spMkLst>
        </pc:spChg>
        <pc:spChg chg="mod">
          <ac:chgData name="Oltmann, Mareike (DI MC MTS DG VAL)" userId="e9d180a7-92fa-4729-bbe0-3cd6fe0b20a6" providerId="ADAL" clId="{59405620-8A3E-462B-BE69-8D4876A7820E}" dt="2023-07-04T11:32:19.940" v="1518" actId="14100"/>
          <ac:spMkLst>
            <pc:docMk/>
            <pc:sldMk cId="4272915072" sldId="2147375842"/>
            <ac:spMk id="114697" creationId="{17053770-CBC2-A38A-74F8-C9CEDBC1F3A6}"/>
          </ac:spMkLst>
        </pc:spChg>
        <pc:spChg chg="mod">
          <ac:chgData name="Oltmann, Mareike (DI MC MTS DG VAL)" userId="e9d180a7-92fa-4729-bbe0-3cd6fe0b20a6" providerId="ADAL" clId="{59405620-8A3E-462B-BE69-8D4876A7820E}" dt="2023-07-04T11:34:21.571" v="1531" actId="1076"/>
          <ac:spMkLst>
            <pc:docMk/>
            <pc:sldMk cId="4272915072" sldId="2147375842"/>
            <ac:spMk id="114713" creationId="{BAED847F-4E74-A8BE-6BF1-B89ECBECE41B}"/>
          </ac:spMkLst>
        </pc:spChg>
        <pc:spChg chg="mod">
          <ac:chgData name="Oltmann, Mareike (DI MC MTS DG VAL)" userId="e9d180a7-92fa-4729-bbe0-3cd6fe0b20a6" providerId="ADAL" clId="{59405620-8A3E-462B-BE69-8D4876A7820E}" dt="2023-07-04T11:33:34.305" v="1528" actId="1076"/>
          <ac:spMkLst>
            <pc:docMk/>
            <pc:sldMk cId="4272915072" sldId="2147375842"/>
            <ac:spMk id="114719" creationId="{4FCB5878-ADF2-0EEC-00FB-1D8002386A37}"/>
          </ac:spMkLst>
        </pc:spChg>
        <pc:picChg chg="add mod">
          <ac:chgData name="Oltmann, Mareike (DI MC MTS DG VAL)" userId="e9d180a7-92fa-4729-bbe0-3cd6fe0b20a6" providerId="ADAL" clId="{59405620-8A3E-462B-BE69-8D4876A7820E}" dt="2023-07-04T11:29:18.076" v="1498" actId="1076"/>
          <ac:picMkLst>
            <pc:docMk/>
            <pc:sldMk cId="4272915072" sldId="2147375842"/>
            <ac:picMk id="8" creationId="{5C64154F-D214-3B75-4BDF-4DF7A0978E80}"/>
          </ac:picMkLst>
        </pc:picChg>
        <pc:picChg chg="add mod">
          <ac:chgData name="Oltmann, Mareike (DI MC MTS DG VAL)" userId="e9d180a7-92fa-4729-bbe0-3cd6fe0b20a6" providerId="ADAL" clId="{59405620-8A3E-462B-BE69-8D4876A7820E}" dt="2023-07-04T11:29:18.076" v="1498" actId="1076"/>
          <ac:picMkLst>
            <pc:docMk/>
            <pc:sldMk cId="4272915072" sldId="2147375842"/>
            <ac:picMk id="24" creationId="{866B4B44-6EDC-9BF4-7692-BDF7783B2E0D}"/>
          </ac:picMkLst>
        </pc:picChg>
        <pc:picChg chg="add mod">
          <ac:chgData name="Oltmann, Mareike (DI MC MTS DG VAL)" userId="e9d180a7-92fa-4729-bbe0-3cd6fe0b20a6" providerId="ADAL" clId="{59405620-8A3E-462B-BE69-8D4876A7820E}" dt="2023-07-04T11:29:18.076" v="1498" actId="1076"/>
          <ac:picMkLst>
            <pc:docMk/>
            <pc:sldMk cId="4272915072" sldId="2147375842"/>
            <ac:picMk id="25" creationId="{455B1928-D82E-3C00-4ADE-B17EA5B8815E}"/>
          </ac:picMkLst>
        </pc:picChg>
      </pc:sldChg>
      <pc:sldChg chg="addSp delSp modSp add mod addCm delCm">
        <pc:chgData name="Oltmann, Mareike (DI MC MTS DG VAL)" userId="e9d180a7-92fa-4729-bbe0-3cd6fe0b20a6" providerId="ADAL" clId="{59405620-8A3E-462B-BE69-8D4876A7820E}" dt="2023-07-04T14:09:59.031" v="2820" actId="20577"/>
        <pc:sldMkLst>
          <pc:docMk/>
          <pc:sldMk cId="1266025092" sldId="2147375843"/>
        </pc:sldMkLst>
        <pc:spChg chg="mod ord">
          <ac:chgData name="Oltmann, Mareike (DI MC MTS DG VAL)" userId="e9d180a7-92fa-4729-bbe0-3cd6fe0b20a6" providerId="ADAL" clId="{59405620-8A3E-462B-BE69-8D4876A7820E}" dt="2023-07-04T12:05:07.327" v="1748"/>
          <ac:spMkLst>
            <pc:docMk/>
            <pc:sldMk cId="1266025092" sldId="2147375843"/>
            <ac:spMk id="3" creationId="{00000000-0000-0000-0000-000000000000}"/>
          </ac:spMkLst>
        </pc:spChg>
        <pc:spChg chg="add del mod ord">
          <ac:chgData name="Oltmann, Mareike (DI MC MTS DG VAL)" userId="e9d180a7-92fa-4729-bbe0-3cd6fe0b20a6" providerId="ADAL" clId="{59405620-8A3E-462B-BE69-8D4876A7820E}" dt="2023-07-04T12:04:01.827" v="1712" actId="478"/>
          <ac:spMkLst>
            <pc:docMk/>
            <pc:sldMk cId="1266025092" sldId="2147375843"/>
            <ac:spMk id="4" creationId="{20352F7C-474E-0469-2828-8E9E51DD3D51}"/>
          </ac:spMkLst>
        </pc:spChg>
        <pc:spChg chg="mod ord">
          <ac:chgData name="Oltmann, Mareike (DI MC MTS DG VAL)" userId="e9d180a7-92fa-4729-bbe0-3cd6fe0b20a6" providerId="ADAL" clId="{59405620-8A3E-462B-BE69-8D4876A7820E}" dt="2023-07-04T13:50:51.734" v="2810" actId="1076"/>
          <ac:spMkLst>
            <pc:docMk/>
            <pc:sldMk cId="1266025092" sldId="2147375843"/>
            <ac:spMk id="5" creationId="{5DC97A31-C15E-4F70-9E3F-7BBEADC3F544}"/>
          </ac:spMkLst>
        </pc:spChg>
        <pc:spChg chg="mod ord">
          <ac:chgData name="Oltmann, Mareike (DI MC MTS DG VAL)" userId="e9d180a7-92fa-4729-bbe0-3cd6fe0b20a6" providerId="ADAL" clId="{59405620-8A3E-462B-BE69-8D4876A7820E}" dt="2023-07-04T12:05:07.343" v="1754"/>
          <ac:spMkLst>
            <pc:docMk/>
            <pc:sldMk cId="1266025092" sldId="2147375843"/>
            <ac:spMk id="6" creationId="{DC39B9F7-C842-0BA9-67B9-347372CC93B2}"/>
          </ac:spMkLst>
        </pc:spChg>
        <pc:spChg chg="add del mod modVis">
          <ac:chgData name="Oltmann, Mareike (DI MC MTS DG VAL)" userId="e9d180a7-92fa-4729-bbe0-3cd6fe0b20a6" providerId="ADAL" clId="{59405620-8A3E-462B-BE69-8D4876A7820E}" dt="2023-07-04T09:23:00.611" v="1146"/>
          <ac:spMkLst>
            <pc:docMk/>
            <pc:sldMk cId="1266025092" sldId="2147375843"/>
            <ac:spMk id="7" creationId="{6E7FEF70-6107-24DE-442A-45AEBB28A5ED}"/>
          </ac:spMkLst>
        </pc:spChg>
        <pc:spChg chg="add mod ord">
          <ac:chgData name="Oltmann, Mareike (DI MC MTS DG VAL)" userId="e9d180a7-92fa-4729-bbe0-3cd6fe0b20a6" providerId="ADAL" clId="{59405620-8A3E-462B-BE69-8D4876A7820E}" dt="2023-07-04T13:41:24.960" v="2446" actId="6549"/>
          <ac:spMkLst>
            <pc:docMk/>
            <pc:sldMk cId="1266025092" sldId="2147375843"/>
            <ac:spMk id="9" creationId="{9569A257-1A23-5745-AD87-0DE7698F3980}"/>
          </ac:spMkLst>
        </pc:spChg>
        <pc:spChg chg="add mod ord">
          <ac:chgData name="Oltmann, Mareike (DI MC MTS DG VAL)" userId="e9d180a7-92fa-4729-bbe0-3cd6fe0b20a6" providerId="ADAL" clId="{59405620-8A3E-462B-BE69-8D4876A7820E}" dt="2023-07-04T13:46:58.802" v="2798" actId="1076"/>
          <ac:spMkLst>
            <pc:docMk/>
            <pc:sldMk cId="1266025092" sldId="2147375843"/>
            <ac:spMk id="14" creationId="{55CE2DD7-CCAA-16C8-A239-995C94594834}"/>
          </ac:spMkLst>
        </pc:spChg>
        <pc:spChg chg="add mod">
          <ac:chgData name="Oltmann, Mareike (DI MC MTS DG VAL)" userId="e9d180a7-92fa-4729-bbe0-3cd6fe0b20a6" providerId="ADAL" clId="{59405620-8A3E-462B-BE69-8D4876A7820E}" dt="2023-07-04T13:50:29.665" v="2805" actId="1076"/>
          <ac:spMkLst>
            <pc:docMk/>
            <pc:sldMk cId="1266025092" sldId="2147375843"/>
            <ac:spMk id="15" creationId="{250D7D65-EA14-559A-94A5-3606876575C7}"/>
          </ac:spMkLst>
        </pc:spChg>
        <pc:spChg chg="add del mod">
          <ac:chgData name="Oltmann, Mareike (DI MC MTS DG VAL)" userId="e9d180a7-92fa-4729-bbe0-3cd6fe0b20a6" providerId="ADAL" clId="{59405620-8A3E-462B-BE69-8D4876A7820E}" dt="2023-07-04T13:41:23.310" v="2445"/>
          <ac:spMkLst>
            <pc:docMk/>
            <pc:sldMk cId="1266025092" sldId="2147375843"/>
            <ac:spMk id="16" creationId="{FE74042E-2A32-43E9-FEA4-756E13736616}"/>
          </ac:spMkLst>
        </pc:spChg>
        <pc:spChg chg="add mod">
          <ac:chgData name="Oltmann, Mareike (DI MC MTS DG VAL)" userId="e9d180a7-92fa-4729-bbe0-3cd6fe0b20a6" providerId="ADAL" clId="{59405620-8A3E-462B-BE69-8D4876A7820E}" dt="2023-07-04T13:41:26.020" v="2447"/>
          <ac:spMkLst>
            <pc:docMk/>
            <pc:sldMk cId="1266025092" sldId="2147375843"/>
            <ac:spMk id="17" creationId="{1E32C8C2-68AE-BBD2-1417-226B14BE3658}"/>
          </ac:spMkLst>
        </pc:spChg>
        <pc:spChg chg="mod ord">
          <ac:chgData name="Oltmann, Mareike (DI MC MTS DG VAL)" userId="e9d180a7-92fa-4729-bbe0-3cd6fe0b20a6" providerId="ADAL" clId="{59405620-8A3E-462B-BE69-8D4876A7820E}" dt="2023-07-04T14:09:59.031" v="2820" actId="20577"/>
          <ac:spMkLst>
            <pc:docMk/>
            <pc:sldMk cId="1266025092" sldId="2147375843"/>
            <ac:spMk id="854" creationId="{00000000-0000-0000-0000-000000000000}"/>
          </ac:spMkLst>
        </pc:spChg>
        <pc:graphicFrameChg chg="add mod ord modVis replST">
          <ac:chgData name="Oltmann, Mareike (DI MC MTS DG VAL)" userId="e9d180a7-92fa-4729-bbe0-3cd6fe0b20a6" providerId="ADAL" clId="{59405620-8A3E-462B-BE69-8D4876A7820E}" dt="2023-07-04T12:05:07.343" v="1766"/>
          <ac:graphicFrameMkLst>
            <pc:docMk/>
            <pc:sldMk cId="1266025092" sldId="2147375843"/>
            <ac:graphicFrameMk id="8" creationId="{82E6890B-19A0-CFA6-0D89-210D0266E342}"/>
          </ac:graphicFrameMkLst>
        </pc:graphicFrameChg>
        <pc:picChg chg="add mod ord">
          <ac:chgData name="Oltmann, Mareike (DI MC MTS DG VAL)" userId="e9d180a7-92fa-4729-bbe0-3cd6fe0b20a6" providerId="ADAL" clId="{59405620-8A3E-462B-BE69-8D4876A7820E}" dt="2023-07-04T13:51:12.700" v="2814" actId="1076"/>
          <ac:picMkLst>
            <pc:docMk/>
            <pc:sldMk cId="1266025092" sldId="2147375843"/>
            <ac:picMk id="2" creationId="{B0AE7485-0FCB-3B95-2CDC-968E0CB7DC2A}"/>
          </ac:picMkLst>
        </pc:picChg>
        <pc:picChg chg="add del mod">
          <ac:chgData name="Oltmann, Mareike (DI MC MTS DG VAL)" userId="e9d180a7-92fa-4729-bbe0-3cd6fe0b20a6" providerId="ADAL" clId="{59405620-8A3E-462B-BE69-8D4876A7820E}" dt="2023-07-04T11:34:38.891" v="1533" actId="478"/>
          <ac:picMkLst>
            <pc:docMk/>
            <pc:sldMk cId="1266025092" sldId="2147375843"/>
            <ac:picMk id="11" creationId="{F10B128F-C6CC-3CB2-81F8-EFEC93B06F0A}"/>
          </ac:picMkLst>
        </pc:picChg>
        <pc:picChg chg="add del mod">
          <ac:chgData name="Oltmann, Mareike (DI MC MTS DG VAL)" userId="e9d180a7-92fa-4729-bbe0-3cd6fe0b20a6" providerId="ADAL" clId="{59405620-8A3E-462B-BE69-8D4876A7820E}" dt="2023-07-04T12:04:24.989" v="1734" actId="478"/>
          <ac:picMkLst>
            <pc:docMk/>
            <pc:sldMk cId="1266025092" sldId="2147375843"/>
            <ac:picMk id="12" creationId="{70FC413A-0AC6-71D2-4933-2B051AC30E3E}"/>
          </ac:picMkLst>
        </pc:picChg>
        <pc:picChg chg="add mod ord">
          <ac:chgData name="Oltmann, Mareike (DI MC MTS DG VAL)" userId="e9d180a7-92fa-4729-bbe0-3cd6fe0b20a6" providerId="ADAL" clId="{59405620-8A3E-462B-BE69-8D4876A7820E}" dt="2023-07-04T12:05:07.343" v="1762"/>
          <ac:picMkLst>
            <pc:docMk/>
            <pc:sldMk cId="1266025092" sldId="2147375843"/>
            <ac:picMk id="13" creationId="{7DCD7928-42ED-4AFA-D899-9C1040047325}"/>
          </ac:picMkLst>
        </pc:picChg>
        <pc:cxnChg chg="add mod ord">
          <ac:chgData name="Oltmann, Mareike (DI MC MTS DG VAL)" userId="e9d180a7-92fa-4729-bbe0-3cd6fe0b20a6" providerId="ADAL" clId="{59405620-8A3E-462B-BE69-8D4876A7820E}" dt="2023-07-04T12:05:07.343" v="1760"/>
          <ac:cxnSpMkLst>
            <pc:docMk/>
            <pc:sldMk cId="1266025092" sldId="2147375843"/>
            <ac:cxnSpMk id="10" creationId="{FC0D6B50-8476-26EF-4B4F-DECFA84114D9}"/>
          </ac:cxnSpMkLst>
        </pc:cxnChg>
        <pc:extLst>
          <p:ext xmlns:p="http://schemas.openxmlformats.org/presentationml/2006/main" uri="{D6D511B9-2390-475A-947B-AFAB55BFBCF1}">
            <pc226:cmChg xmlns:pc226="http://schemas.microsoft.com/office/powerpoint/2022/06/main/command" chg="add del">
              <pc226:chgData name="Oltmann, Mareike (DI MC MTS DG VAL)" userId="e9d180a7-92fa-4729-bbe0-3cd6fe0b20a6" providerId="ADAL" clId="{59405620-8A3E-462B-BE69-8D4876A7820E}" dt="2023-07-04T14:00:44.342" v="2815"/>
              <pc2:cmMkLst xmlns:pc2="http://schemas.microsoft.com/office/powerpoint/2019/9/main/command">
                <pc:docMk/>
                <pc:sldMk cId="1266025092" sldId="2147375843"/>
                <pc2:cmMk id="{F71C1A26-2157-4706-9BC0-2FE21DF6EE78}"/>
              </pc2:cmMkLst>
            </pc226:cmChg>
          </p:ext>
        </pc:extLst>
      </pc:sldChg>
      <pc:sldChg chg="addSp delSp modSp add mod modClrScheme chgLayout">
        <pc:chgData name="Oltmann, Mareike (DI MC MTS DG VAL)" userId="e9d180a7-92fa-4729-bbe0-3cd6fe0b20a6" providerId="ADAL" clId="{59405620-8A3E-462B-BE69-8D4876A7820E}" dt="2023-07-04T13:49:53.817" v="2801" actId="20577"/>
        <pc:sldMkLst>
          <pc:docMk/>
          <pc:sldMk cId="1612565348" sldId="2147375844"/>
        </pc:sldMkLst>
        <pc:spChg chg="mod ord">
          <ac:chgData name="Oltmann, Mareike (DI MC MTS DG VAL)" userId="e9d180a7-92fa-4729-bbe0-3cd6fe0b20a6" providerId="ADAL" clId="{59405620-8A3E-462B-BE69-8D4876A7820E}" dt="2023-07-04T12:06:30.778" v="1789"/>
          <ac:spMkLst>
            <pc:docMk/>
            <pc:sldMk cId="1612565348" sldId="2147375844"/>
            <ac:spMk id="5" creationId="{5DC97A31-C15E-4F70-9E3F-7BBEADC3F544}"/>
          </ac:spMkLst>
        </pc:spChg>
        <pc:spChg chg="mod ord">
          <ac:chgData name="Oltmann, Mareike (DI MC MTS DG VAL)" userId="e9d180a7-92fa-4729-bbe0-3cd6fe0b20a6" providerId="ADAL" clId="{59405620-8A3E-462B-BE69-8D4876A7820E}" dt="2023-07-04T12:06:30.778" v="1791"/>
          <ac:spMkLst>
            <pc:docMk/>
            <pc:sldMk cId="1612565348" sldId="2147375844"/>
            <ac:spMk id="6" creationId="{DC39B9F7-C842-0BA9-67B9-347372CC93B2}"/>
          </ac:spMkLst>
        </pc:spChg>
        <pc:spChg chg="del mod ord">
          <ac:chgData name="Oltmann, Mareike (DI MC MTS DG VAL)" userId="e9d180a7-92fa-4729-bbe0-3cd6fe0b20a6" providerId="ADAL" clId="{59405620-8A3E-462B-BE69-8D4876A7820E}" dt="2023-07-04T09:17:20.258" v="898" actId="478"/>
          <ac:spMkLst>
            <pc:docMk/>
            <pc:sldMk cId="1612565348" sldId="2147375844"/>
            <ac:spMk id="7" creationId="{5E4A84E3-E750-EA30-C813-ADD4F68CE05A}"/>
          </ac:spMkLst>
        </pc:spChg>
        <pc:spChg chg="mod ord">
          <ac:chgData name="Oltmann, Mareike (DI MC MTS DG VAL)" userId="e9d180a7-92fa-4729-bbe0-3cd6fe0b20a6" providerId="ADAL" clId="{59405620-8A3E-462B-BE69-8D4876A7820E}" dt="2023-07-04T13:41:03.278" v="2443" actId="1076"/>
          <ac:spMkLst>
            <pc:docMk/>
            <pc:sldMk cId="1612565348" sldId="2147375844"/>
            <ac:spMk id="8" creationId="{8F9BC290-A6FD-304A-AD78-3EFBDA75B9B2}"/>
          </ac:spMkLst>
        </pc:spChg>
        <pc:spChg chg="add del mod">
          <ac:chgData name="Oltmann, Mareike (DI MC MTS DG VAL)" userId="e9d180a7-92fa-4729-bbe0-3cd6fe0b20a6" providerId="ADAL" clId="{59405620-8A3E-462B-BE69-8D4876A7820E}" dt="2023-07-04T09:17:10.555" v="896"/>
          <ac:spMkLst>
            <pc:docMk/>
            <pc:sldMk cId="1612565348" sldId="2147375844"/>
            <ac:spMk id="9" creationId="{3C34BEBB-C21E-0980-9F88-6AE7E08954AB}"/>
          </ac:spMkLst>
        </pc:spChg>
        <pc:spChg chg="mod ord">
          <ac:chgData name="Oltmann, Mareike (DI MC MTS DG VAL)" userId="e9d180a7-92fa-4729-bbe0-3cd6fe0b20a6" providerId="ADAL" clId="{59405620-8A3E-462B-BE69-8D4876A7820E}" dt="2023-07-04T13:49:53.817" v="2801" actId="20577"/>
          <ac:spMkLst>
            <pc:docMk/>
            <pc:sldMk cId="1612565348" sldId="2147375844"/>
            <ac:spMk id="11" creationId="{B017E564-D60D-FAB9-1B00-800B768F6E78}"/>
          </ac:spMkLst>
        </pc:spChg>
        <pc:spChg chg="add del mod">
          <ac:chgData name="Oltmann, Mareike (DI MC MTS DG VAL)" userId="e9d180a7-92fa-4729-bbe0-3cd6fe0b20a6" providerId="ADAL" clId="{59405620-8A3E-462B-BE69-8D4876A7820E}" dt="2023-07-04T09:17:10.555" v="896"/>
          <ac:spMkLst>
            <pc:docMk/>
            <pc:sldMk cId="1612565348" sldId="2147375844"/>
            <ac:spMk id="12" creationId="{1A2416F3-1296-D46C-4E8B-44E07E2D23C2}"/>
          </ac:spMkLst>
        </pc:spChg>
        <pc:spChg chg="add mod ord">
          <ac:chgData name="Oltmann, Mareike (DI MC MTS DG VAL)" userId="e9d180a7-92fa-4729-bbe0-3cd6fe0b20a6" providerId="ADAL" clId="{59405620-8A3E-462B-BE69-8D4876A7820E}" dt="2023-07-04T12:06:30.762" v="1787"/>
          <ac:spMkLst>
            <pc:docMk/>
            <pc:sldMk cId="1612565348" sldId="2147375844"/>
            <ac:spMk id="13" creationId="{C919B719-7AFD-3285-5BAE-4CCDCDEF2ED4}"/>
          </ac:spMkLst>
        </pc:spChg>
        <pc:spChg chg="add del mod">
          <ac:chgData name="Oltmann, Mareike (DI MC MTS DG VAL)" userId="e9d180a7-92fa-4729-bbe0-3cd6fe0b20a6" providerId="ADAL" clId="{59405620-8A3E-462B-BE69-8D4876A7820E}" dt="2023-07-04T09:17:30.595" v="945"/>
          <ac:spMkLst>
            <pc:docMk/>
            <pc:sldMk cId="1612565348" sldId="2147375844"/>
            <ac:spMk id="14" creationId="{FB92EF26-5A94-B6CF-AA4A-BC0E36FDC449}"/>
          </ac:spMkLst>
        </pc:spChg>
        <pc:spChg chg="add del mod">
          <ac:chgData name="Oltmann, Mareike (DI MC MTS DG VAL)" userId="e9d180a7-92fa-4729-bbe0-3cd6fe0b20a6" providerId="ADAL" clId="{59405620-8A3E-462B-BE69-8D4876A7820E}" dt="2023-07-04T09:17:30.595" v="945"/>
          <ac:spMkLst>
            <pc:docMk/>
            <pc:sldMk cId="1612565348" sldId="2147375844"/>
            <ac:spMk id="15" creationId="{4D519531-2A8F-A741-C6B1-A4254B74A747}"/>
          </ac:spMkLst>
        </pc:spChg>
        <pc:spChg chg="add del mod modVis">
          <ac:chgData name="Oltmann, Mareike (DI MC MTS DG VAL)" userId="e9d180a7-92fa-4729-bbe0-3cd6fe0b20a6" providerId="ADAL" clId="{59405620-8A3E-462B-BE69-8D4876A7820E}" dt="2023-07-04T09:17:22.671" v="941"/>
          <ac:spMkLst>
            <pc:docMk/>
            <pc:sldMk cId="1612565348" sldId="2147375844"/>
            <ac:spMk id="16" creationId="{4701DFB6-808D-5565-4FB6-54BFD99372C0}"/>
          </ac:spMkLst>
        </pc:spChg>
        <pc:spChg chg="mod ord">
          <ac:chgData name="Oltmann, Mareike (DI MC MTS DG VAL)" userId="e9d180a7-92fa-4729-bbe0-3cd6fe0b20a6" providerId="ADAL" clId="{59405620-8A3E-462B-BE69-8D4876A7820E}" dt="2023-07-04T12:08:18.370" v="1850" actId="1076"/>
          <ac:spMkLst>
            <pc:docMk/>
            <pc:sldMk cId="1612565348" sldId="2147375844"/>
            <ac:spMk id="17" creationId="{E51C50BB-2FFC-3746-F21D-9FA6E603495B}"/>
          </ac:spMkLst>
        </pc:spChg>
        <pc:spChg chg="mod ord">
          <ac:chgData name="Oltmann, Mareike (DI MC MTS DG VAL)" userId="e9d180a7-92fa-4729-bbe0-3cd6fe0b20a6" providerId="ADAL" clId="{59405620-8A3E-462B-BE69-8D4876A7820E}" dt="2023-07-04T12:08:55.079" v="1854" actId="1076"/>
          <ac:spMkLst>
            <pc:docMk/>
            <pc:sldMk cId="1612565348" sldId="2147375844"/>
            <ac:spMk id="18" creationId="{2D486161-7E23-7A8E-D0AE-E3109A76B14D}"/>
          </ac:spMkLst>
        </pc:spChg>
        <pc:spChg chg="add del mod ord">
          <ac:chgData name="Oltmann, Mareike (DI MC MTS DG VAL)" userId="e9d180a7-92fa-4729-bbe0-3cd6fe0b20a6" providerId="ADAL" clId="{59405620-8A3E-462B-BE69-8D4876A7820E}" dt="2023-07-04T12:06:43.238" v="1822" actId="478"/>
          <ac:spMkLst>
            <pc:docMk/>
            <pc:sldMk cId="1612565348" sldId="2147375844"/>
            <ac:spMk id="19" creationId="{B52ED302-FA25-2B49-DBE6-733EBEDC770F}"/>
          </ac:spMkLst>
        </pc:spChg>
        <pc:spChg chg="add del mod">
          <ac:chgData name="Oltmann, Mareike (DI MC MTS DG VAL)" userId="e9d180a7-92fa-4729-bbe0-3cd6fe0b20a6" providerId="ADAL" clId="{59405620-8A3E-462B-BE69-8D4876A7820E}" dt="2023-07-04T09:26:22.109" v="1209"/>
          <ac:spMkLst>
            <pc:docMk/>
            <pc:sldMk cId="1612565348" sldId="2147375844"/>
            <ac:spMk id="20" creationId="{211A908A-7BED-EAC0-90EA-20315F056B3D}"/>
          </ac:spMkLst>
        </pc:spChg>
        <pc:spChg chg="mod ord">
          <ac:chgData name="Oltmann, Mareike (DI MC MTS DG VAL)" userId="e9d180a7-92fa-4729-bbe0-3cd6fe0b20a6" providerId="ADAL" clId="{59405620-8A3E-462B-BE69-8D4876A7820E}" dt="2023-07-04T12:09:08.059" v="1855" actId="1076"/>
          <ac:spMkLst>
            <pc:docMk/>
            <pc:sldMk cId="1612565348" sldId="2147375844"/>
            <ac:spMk id="21" creationId="{9F698547-A261-022F-D5C7-120B6D9BB8AC}"/>
          </ac:spMkLst>
        </pc:spChg>
        <pc:spChg chg="mod ord">
          <ac:chgData name="Oltmann, Mareike (DI MC MTS DG VAL)" userId="e9d180a7-92fa-4729-bbe0-3cd6fe0b20a6" providerId="ADAL" clId="{59405620-8A3E-462B-BE69-8D4876A7820E}" dt="2023-07-04T12:09:08.059" v="1855" actId="1076"/>
          <ac:spMkLst>
            <pc:docMk/>
            <pc:sldMk cId="1612565348" sldId="2147375844"/>
            <ac:spMk id="22" creationId="{14F77D81-C4A7-308E-F01C-6A234D89FC65}"/>
          </ac:spMkLst>
        </pc:spChg>
        <pc:spChg chg="mod ord">
          <ac:chgData name="Oltmann, Mareike (DI MC MTS DG VAL)" userId="e9d180a7-92fa-4729-bbe0-3cd6fe0b20a6" providerId="ADAL" clId="{59405620-8A3E-462B-BE69-8D4876A7820E}" dt="2023-07-04T12:09:08.059" v="1855" actId="1076"/>
          <ac:spMkLst>
            <pc:docMk/>
            <pc:sldMk cId="1612565348" sldId="2147375844"/>
            <ac:spMk id="23" creationId="{E8E5D12F-7D90-2796-4AD9-90F02A79C726}"/>
          </ac:spMkLst>
        </pc:spChg>
        <pc:spChg chg="mod ord">
          <ac:chgData name="Oltmann, Mareike (DI MC MTS DG VAL)" userId="e9d180a7-92fa-4729-bbe0-3cd6fe0b20a6" providerId="ADAL" clId="{59405620-8A3E-462B-BE69-8D4876A7820E}" dt="2023-07-04T12:09:08.059" v="1855" actId="1076"/>
          <ac:spMkLst>
            <pc:docMk/>
            <pc:sldMk cId="1612565348" sldId="2147375844"/>
            <ac:spMk id="24" creationId="{90E09A38-6649-D184-6BAA-9726DBBE162F}"/>
          </ac:spMkLst>
        </pc:spChg>
        <pc:spChg chg="add mod ord">
          <ac:chgData name="Oltmann, Mareike (DI MC MTS DG VAL)" userId="e9d180a7-92fa-4729-bbe0-3cd6fe0b20a6" providerId="ADAL" clId="{59405620-8A3E-462B-BE69-8D4876A7820E}" dt="2023-07-04T12:06:30.778" v="1811"/>
          <ac:spMkLst>
            <pc:docMk/>
            <pc:sldMk cId="1612565348" sldId="2147375844"/>
            <ac:spMk id="26" creationId="{0504C75A-61D7-AC08-5611-F11508308B5A}"/>
          </ac:spMkLst>
        </pc:spChg>
        <pc:spChg chg="add mod ord">
          <ac:chgData name="Oltmann, Mareike (DI MC MTS DG VAL)" userId="e9d180a7-92fa-4729-bbe0-3cd6fe0b20a6" providerId="ADAL" clId="{59405620-8A3E-462B-BE69-8D4876A7820E}" dt="2023-07-04T12:06:30.778" v="1813"/>
          <ac:spMkLst>
            <pc:docMk/>
            <pc:sldMk cId="1612565348" sldId="2147375844"/>
            <ac:spMk id="27" creationId="{8EB11B06-4337-C3D3-DB3F-08F01F9FF4B1}"/>
          </ac:spMkLst>
        </pc:spChg>
        <pc:graphicFrameChg chg="add mod ord modVis replST">
          <ac:chgData name="Oltmann, Mareike (DI MC MTS DG VAL)" userId="e9d180a7-92fa-4729-bbe0-3cd6fe0b20a6" providerId="ADAL" clId="{59405620-8A3E-462B-BE69-8D4876A7820E}" dt="2023-07-04T12:06:30.794" v="1819"/>
          <ac:graphicFrameMkLst>
            <pc:docMk/>
            <pc:sldMk cId="1612565348" sldId="2147375844"/>
            <ac:graphicFrameMk id="4" creationId="{71234CB8-5B97-A9AD-6141-8147FB385C59}"/>
          </ac:graphicFrameMkLst>
        </pc:graphicFrameChg>
        <pc:picChg chg="add mod ord">
          <ac:chgData name="Oltmann, Mareike (DI MC MTS DG VAL)" userId="e9d180a7-92fa-4729-bbe0-3cd6fe0b20a6" providerId="ADAL" clId="{59405620-8A3E-462B-BE69-8D4876A7820E}" dt="2023-07-04T12:09:08.059" v="1855" actId="1076"/>
          <ac:picMkLst>
            <pc:docMk/>
            <pc:sldMk cId="1612565348" sldId="2147375844"/>
            <ac:picMk id="2" creationId="{7AFAD779-E55F-BAD4-141C-69CDDD3E430D}"/>
          </ac:picMkLst>
        </pc:picChg>
        <pc:picChg chg="add mod ord">
          <ac:chgData name="Oltmann, Mareike (DI MC MTS DG VAL)" userId="e9d180a7-92fa-4729-bbe0-3cd6fe0b20a6" providerId="ADAL" clId="{59405620-8A3E-462B-BE69-8D4876A7820E}" dt="2023-07-04T12:08:49.923" v="1853" actId="14100"/>
          <ac:picMkLst>
            <pc:docMk/>
            <pc:sldMk cId="1612565348" sldId="2147375844"/>
            <ac:picMk id="3" creationId="{6788F964-2145-C724-61D1-5E1BA8448BA8}"/>
          </ac:picMkLst>
        </pc:picChg>
        <pc:picChg chg="add mod ord">
          <ac:chgData name="Oltmann, Mareike (DI MC MTS DG VAL)" userId="e9d180a7-92fa-4729-bbe0-3cd6fe0b20a6" providerId="ADAL" clId="{59405620-8A3E-462B-BE69-8D4876A7820E}" dt="2023-07-04T12:06:30.778" v="1809"/>
          <ac:picMkLst>
            <pc:docMk/>
            <pc:sldMk cId="1612565348" sldId="2147375844"/>
            <ac:picMk id="25" creationId="{DE34AEAF-B368-6385-782C-E37E779F8DF3}"/>
          </ac:picMkLst>
        </pc:picChg>
        <pc:cxnChg chg="mod ord">
          <ac:chgData name="Oltmann, Mareike (DI MC MTS DG VAL)" userId="e9d180a7-92fa-4729-bbe0-3cd6fe0b20a6" providerId="ADAL" clId="{59405620-8A3E-462B-BE69-8D4876A7820E}" dt="2023-07-04T12:28:39.684" v="2196" actId="1076"/>
          <ac:cxnSpMkLst>
            <pc:docMk/>
            <pc:sldMk cId="1612565348" sldId="2147375844"/>
            <ac:cxnSpMk id="10" creationId="{AD637F3D-9FB9-2850-DEE9-CB6AC9DCDC93}"/>
          </ac:cxnSpMkLst>
        </pc:cxnChg>
      </pc:sldChg>
      <pc:sldChg chg="modSp add mod">
        <pc:chgData name="Oltmann, Mareike (DI MC MTS DG VAL)" userId="e9d180a7-92fa-4729-bbe0-3cd6fe0b20a6" providerId="ADAL" clId="{59405620-8A3E-462B-BE69-8D4876A7820E}" dt="2023-07-04T12:29:37.302" v="2202" actId="1076"/>
        <pc:sldMkLst>
          <pc:docMk/>
          <pc:sldMk cId="3697132244" sldId="2147375845"/>
        </pc:sldMkLst>
        <pc:spChg chg="mod">
          <ac:chgData name="Oltmann, Mareike (DI MC MTS DG VAL)" userId="e9d180a7-92fa-4729-bbe0-3cd6fe0b20a6" providerId="ADAL" clId="{59405620-8A3E-462B-BE69-8D4876A7820E}" dt="2023-07-04T08:38:10.135" v="556" actId="20577"/>
          <ac:spMkLst>
            <pc:docMk/>
            <pc:sldMk cId="3697132244" sldId="2147375845"/>
            <ac:spMk id="7" creationId="{CB1BBC6D-2835-A563-8A9C-18E7186E1C8F}"/>
          </ac:spMkLst>
        </pc:spChg>
        <pc:spChg chg="mod">
          <ac:chgData name="Oltmann, Mareike (DI MC MTS DG VAL)" userId="e9d180a7-92fa-4729-bbe0-3cd6fe0b20a6" providerId="ADAL" clId="{59405620-8A3E-462B-BE69-8D4876A7820E}" dt="2023-07-04T12:09:50.641" v="1857" actId="14100"/>
          <ac:spMkLst>
            <pc:docMk/>
            <pc:sldMk cId="3697132244" sldId="2147375845"/>
            <ac:spMk id="14" creationId="{55CFEC6D-F26E-4630-9F86-B4CA2DC0AFD7}"/>
          </ac:spMkLst>
        </pc:spChg>
        <pc:spChg chg="mod">
          <ac:chgData name="Oltmann, Mareike (DI MC MTS DG VAL)" userId="e9d180a7-92fa-4729-bbe0-3cd6fe0b20a6" providerId="ADAL" clId="{59405620-8A3E-462B-BE69-8D4876A7820E}" dt="2023-07-04T12:09:46.743" v="1856" actId="14100"/>
          <ac:spMkLst>
            <pc:docMk/>
            <pc:sldMk cId="3697132244" sldId="2147375845"/>
            <ac:spMk id="15" creationId="{F823EE76-1908-45A3-A100-931E61125FC9}"/>
          </ac:spMkLst>
        </pc:spChg>
        <pc:spChg chg="mod">
          <ac:chgData name="Oltmann, Mareike (DI MC MTS DG VAL)" userId="e9d180a7-92fa-4729-bbe0-3cd6fe0b20a6" providerId="ADAL" clId="{59405620-8A3E-462B-BE69-8D4876A7820E}" dt="2023-07-04T12:10:16.312" v="1860" actId="1036"/>
          <ac:spMkLst>
            <pc:docMk/>
            <pc:sldMk cId="3697132244" sldId="2147375845"/>
            <ac:spMk id="16" creationId="{FB797D11-E86F-4F1D-A6E8-7E5CE79CB037}"/>
          </ac:spMkLst>
        </pc:spChg>
        <pc:spChg chg="mod">
          <ac:chgData name="Oltmann, Mareike (DI MC MTS DG VAL)" userId="e9d180a7-92fa-4729-bbe0-3cd6fe0b20a6" providerId="ADAL" clId="{59405620-8A3E-462B-BE69-8D4876A7820E}" dt="2023-07-04T12:09:54.227" v="1858" actId="1076"/>
          <ac:spMkLst>
            <pc:docMk/>
            <pc:sldMk cId="3697132244" sldId="2147375845"/>
            <ac:spMk id="17" creationId="{06B2F4DF-D567-45C5-A705-18C26CF11558}"/>
          </ac:spMkLst>
        </pc:spChg>
        <pc:spChg chg="mod">
          <ac:chgData name="Oltmann, Mareike (DI MC MTS DG VAL)" userId="e9d180a7-92fa-4729-bbe0-3cd6fe0b20a6" providerId="ADAL" clId="{59405620-8A3E-462B-BE69-8D4876A7820E}" dt="2023-07-04T12:29:37.302" v="2202" actId="1076"/>
          <ac:spMkLst>
            <pc:docMk/>
            <pc:sldMk cId="3697132244" sldId="2147375845"/>
            <ac:spMk id="18" creationId="{9AC9ECBD-8BDF-456D-ACFC-D0420C5E453B}"/>
          </ac:spMkLst>
        </pc:spChg>
        <pc:spChg chg="mod">
          <ac:chgData name="Oltmann, Mareike (DI MC MTS DG VAL)" userId="e9d180a7-92fa-4729-bbe0-3cd6fe0b20a6" providerId="ADAL" clId="{59405620-8A3E-462B-BE69-8D4876A7820E}" dt="2023-07-04T12:29:37.302" v="2202" actId="1076"/>
          <ac:spMkLst>
            <pc:docMk/>
            <pc:sldMk cId="3697132244" sldId="2147375845"/>
            <ac:spMk id="19" creationId="{A6FCD2F1-E8D8-4002-8AEE-7401886127F9}"/>
          </ac:spMkLst>
        </pc:spChg>
        <pc:spChg chg="mod">
          <ac:chgData name="Oltmann, Mareike (DI MC MTS DG VAL)" userId="e9d180a7-92fa-4729-bbe0-3cd6fe0b20a6" providerId="ADAL" clId="{59405620-8A3E-462B-BE69-8D4876A7820E}" dt="2023-07-04T12:29:14.059" v="2200" actId="1076"/>
          <ac:spMkLst>
            <pc:docMk/>
            <pc:sldMk cId="3697132244" sldId="2147375845"/>
            <ac:spMk id="125" creationId="{7978D5EE-A1A8-4A0D-A761-4ACC5629442E}"/>
          </ac:spMkLst>
        </pc:spChg>
        <pc:cxnChg chg="mod">
          <ac:chgData name="Oltmann, Mareike (DI MC MTS DG VAL)" userId="e9d180a7-92fa-4729-bbe0-3cd6fe0b20a6" providerId="ADAL" clId="{59405620-8A3E-462B-BE69-8D4876A7820E}" dt="2023-07-04T12:29:25.629" v="2201" actId="1076"/>
          <ac:cxnSpMkLst>
            <pc:docMk/>
            <pc:sldMk cId="3697132244" sldId="2147375845"/>
            <ac:cxnSpMk id="127" creationId="{CC33913C-BDD9-47B2-A0A2-BE44284935B1}"/>
          </ac:cxnSpMkLst>
        </pc:cxnChg>
      </pc:sldChg>
      <pc:sldChg chg="addSp delSp modSp add mod">
        <pc:chgData name="Oltmann, Mareike (DI MC MTS DG VAL)" userId="e9d180a7-92fa-4729-bbe0-3cd6fe0b20a6" providerId="ADAL" clId="{59405620-8A3E-462B-BE69-8D4876A7820E}" dt="2023-07-04T12:31:14.793" v="2208" actId="20577"/>
        <pc:sldMkLst>
          <pc:docMk/>
          <pc:sldMk cId="1494394373" sldId="2147375846"/>
        </pc:sldMkLst>
        <pc:spChg chg="mod ord">
          <ac:chgData name="Oltmann, Mareike (DI MC MTS DG VAL)" userId="e9d180a7-92fa-4729-bbe0-3cd6fe0b20a6" providerId="ADAL" clId="{59405620-8A3E-462B-BE69-8D4876A7820E}" dt="2023-07-04T12:10:50.686" v="1874"/>
          <ac:spMkLst>
            <pc:docMk/>
            <pc:sldMk cId="1494394373" sldId="2147375846"/>
            <ac:spMk id="2" creationId="{00000000-0000-0000-0000-000000000000}"/>
          </ac:spMkLst>
        </pc:spChg>
        <pc:spChg chg="mod ord">
          <ac:chgData name="Oltmann, Mareike (DI MC MTS DG VAL)" userId="e9d180a7-92fa-4729-bbe0-3cd6fe0b20a6" providerId="ADAL" clId="{59405620-8A3E-462B-BE69-8D4876A7820E}" dt="2023-07-04T12:10:50.706" v="1890"/>
          <ac:spMkLst>
            <pc:docMk/>
            <pc:sldMk cId="1494394373" sldId="2147375846"/>
            <ac:spMk id="3" creationId="{53D4FE15-7848-0139-9DAA-E0969FDA2D6B}"/>
          </ac:spMkLst>
        </pc:spChg>
        <pc:spChg chg="mod">
          <ac:chgData name="Oltmann, Mareike (DI MC MTS DG VAL)" userId="e9d180a7-92fa-4729-bbe0-3cd6fe0b20a6" providerId="ADAL" clId="{59405620-8A3E-462B-BE69-8D4876A7820E}" dt="2023-07-04T12:10:50.686" v="1872"/>
          <ac:spMkLst>
            <pc:docMk/>
            <pc:sldMk cId="1494394373" sldId="2147375846"/>
            <ac:spMk id="6" creationId="{8231345E-4B32-4521-87C7-38D6F9B546A0}"/>
          </ac:spMkLst>
        </pc:spChg>
        <pc:spChg chg="mod ord">
          <ac:chgData name="Oltmann, Mareike (DI MC MTS DG VAL)" userId="e9d180a7-92fa-4729-bbe0-3cd6fe0b20a6" providerId="ADAL" clId="{59405620-8A3E-462B-BE69-8D4876A7820E}" dt="2023-07-04T12:10:50.708" v="1892"/>
          <ac:spMkLst>
            <pc:docMk/>
            <pc:sldMk cId="1494394373" sldId="2147375846"/>
            <ac:spMk id="7" creationId="{0A7CBBC8-C638-2768-EE65-CD68B8305227}"/>
          </ac:spMkLst>
        </pc:spChg>
        <pc:spChg chg="add del mod ord">
          <ac:chgData name="Oltmann, Mareike (DI MC MTS DG VAL)" userId="e9d180a7-92fa-4729-bbe0-3cd6fe0b20a6" providerId="ADAL" clId="{59405620-8A3E-462B-BE69-8D4876A7820E}" dt="2023-07-04T09:28:29.154" v="1311" actId="478"/>
          <ac:spMkLst>
            <pc:docMk/>
            <pc:sldMk cId="1494394373" sldId="2147375846"/>
            <ac:spMk id="8" creationId="{725D175D-6D6B-A4A8-35CE-962E22372CBC}"/>
          </ac:spMkLst>
        </pc:spChg>
        <pc:spChg chg="mod">
          <ac:chgData name="Oltmann, Mareike (DI MC MTS DG VAL)" userId="e9d180a7-92fa-4729-bbe0-3cd6fe0b20a6" providerId="ADAL" clId="{59405620-8A3E-462B-BE69-8D4876A7820E}" dt="2023-07-04T12:16:01.335" v="1973" actId="1076"/>
          <ac:spMkLst>
            <pc:docMk/>
            <pc:sldMk cId="1494394373" sldId="2147375846"/>
            <ac:spMk id="11" creationId="{33B891A8-1F82-0E3F-E48F-CF3F056315B7}"/>
          </ac:spMkLst>
        </pc:spChg>
        <pc:spChg chg="mod">
          <ac:chgData name="Oltmann, Mareike (DI MC MTS DG VAL)" userId="e9d180a7-92fa-4729-bbe0-3cd6fe0b20a6" providerId="ADAL" clId="{59405620-8A3E-462B-BE69-8D4876A7820E}" dt="2023-07-04T12:16:07.976" v="1975" actId="14100"/>
          <ac:spMkLst>
            <pc:docMk/>
            <pc:sldMk cId="1494394373" sldId="2147375846"/>
            <ac:spMk id="12" creationId="{C9DD64CF-E610-F559-8B42-FE8BD4E94503}"/>
          </ac:spMkLst>
        </pc:spChg>
        <pc:spChg chg="mod">
          <ac:chgData name="Oltmann, Mareike (DI MC MTS DG VAL)" userId="e9d180a7-92fa-4729-bbe0-3cd6fe0b20a6" providerId="ADAL" clId="{59405620-8A3E-462B-BE69-8D4876A7820E}" dt="2023-07-04T09:19:10.018" v="953"/>
          <ac:spMkLst>
            <pc:docMk/>
            <pc:sldMk cId="1494394373" sldId="2147375846"/>
            <ac:spMk id="14" creationId="{389E5C67-789E-40FB-4928-B352144D20EA}"/>
          </ac:spMkLst>
        </pc:spChg>
        <pc:spChg chg="mod">
          <ac:chgData name="Oltmann, Mareike (DI MC MTS DG VAL)" userId="e9d180a7-92fa-4729-bbe0-3cd6fe0b20a6" providerId="ADAL" clId="{59405620-8A3E-462B-BE69-8D4876A7820E}" dt="2023-07-04T09:19:10.018" v="953"/>
          <ac:spMkLst>
            <pc:docMk/>
            <pc:sldMk cId="1494394373" sldId="2147375846"/>
            <ac:spMk id="15" creationId="{359D08DB-4198-DDCD-283F-CC6ECC95B960}"/>
          </ac:spMkLst>
        </pc:spChg>
        <pc:spChg chg="mod">
          <ac:chgData name="Oltmann, Mareike (DI MC MTS DG VAL)" userId="e9d180a7-92fa-4729-bbe0-3cd6fe0b20a6" providerId="ADAL" clId="{59405620-8A3E-462B-BE69-8D4876A7820E}" dt="2023-07-04T09:19:10.018" v="953"/>
          <ac:spMkLst>
            <pc:docMk/>
            <pc:sldMk cId="1494394373" sldId="2147375846"/>
            <ac:spMk id="16" creationId="{AC3A3EF5-D864-DDAF-6489-74A73D52655A}"/>
          </ac:spMkLst>
        </pc:spChg>
        <pc:spChg chg="mod ord">
          <ac:chgData name="Oltmann, Mareike (DI MC MTS DG VAL)" userId="e9d180a7-92fa-4729-bbe0-3cd6fe0b20a6" providerId="ADAL" clId="{59405620-8A3E-462B-BE69-8D4876A7820E}" dt="2023-07-04T12:15:04.758" v="1965" actId="1076"/>
          <ac:spMkLst>
            <pc:docMk/>
            <pc:sldMk cId="1494394373" sldId="2147375846"/>
            <ac:spMk id="17" creationId="{02834E42-6A31-77E4-7565-5979153232EE}"/>
          </ac:spMkLst>
        </pc:spChg>
        <pc:spChg chg="add del mod">
          <ac:chgData name="Oltmann, Mareike (DI MC MTS DG VAL)" userId="e9d180a7-92fa-4729-bbe0-3cd6fe0b20a6" providerId="ADAL" clId="{59405620-8A3E-462B-BE69-8D4876A7820E}" dt="2023-07-04T09:19:49.600" v="959" actId="478"/>
          <ac:spMkLst>
            <pc:docMk/>
            <pc:sldMk cId="1494394373" sldId="2147375846"/>
            <ac:spMk id="18" creationId="{3B284935-01D5-83DF-6FE7-069736A234A4}"/>
          </ac:spMkLst>
        </pc:spChg>
        <pc:spChg chg="add mod ord">
          <ac:chgData name="Oltmann, Mareike (DI MC MTS DG VAL)" userId="e9d180a7-92fa-4729-bbe0-3cd6fe0b20a6" providerId="ADAL" clId="{59405620-8A3E-462B-BE69-8D4876A7820E}" dt="2023-07-04T12:18:44.550" v="1984" actId="207"/>
          <ac:spMkLst>
            <pc:docMk/>
            <pc:sldMk cId="1494394373" sldId="2147375846"/>
            <ac:spMk id="21" creationId="{BEDF3C04-9790-3FBB-58F9-F036FF69525B}"/>
          </ac:spMkLst>
        </pc:spChg>
        <pc:spChg chg="add mod ord">
          <ac:chgData name="Oltmann, Mareike (DI MC MTS DG VAL)" userId="e9d180a7-92fa-4729-bbe0-3cd6fe0b20a6" providerId="ADAL" clId="{59405620-8A3E-462B-BE69-8D4876A7820E}" dt="2023-07-04T12:18:44.550" v="1984" actId="207"/>
          <ac:spMkLst>
            <pc:docMk/>
            <pc:sldMk cId="1494394373" sldId="2147375846"/>
            <ac:spMk id="22" creationId="{529026FB-2AF8-50C5-2444-36AA4AA2E9AE}"/>
          </ac:spMkLst>
        </pc:spChg>
        <pc:spChg chg="add del mod">
          <ac:chgData name="Oltmann, Mareike (DI MC MTS DG VAL)" userId="e9d180a7-92fa-4729-bbe0-3cd6fe0b20a6" providerId="ADAL" clId="{59405620-8A3E-462B-BE69-8D4876A7820E}" dt="2023-07-04T09:19:27.697" v="955" actId="478"/>
          <ac:spMkLst>
            <pc:docMk/>
            <pc:sldMk cId="1494394373" sldId="2147375846"/>
            <ac:spMk id="23" creationId="{E5DFAA84-79EF-39D1-8E38-0D13597C86D1}"/>
          </ac:spMkLst>
        </pc:spChg>
        <pc:spChg chg="mod ord">
          <ac:chgData name="Oltmann, Mareike (DI MC MTS DG VAL)" userId="e9d180a7-92fa-4729-bbe0-3cd6fe0b20a6" providerId="ADAL" clId="{59405620-8A3E-462B-BE69-8D4876A7820E}" dt="2023-07-04T12:16:21.106" v="1976" actId="1076"/>
          <ac:spMkLst>
            <pc:docMk/>
            <pc:sldMk cId="1494394373" sldId="2147375846"/>
            <ac:spMk id="24" creationId="{C60589EA-7EBF-EA47-EC26-D37B7C2D7A4C}"/>
          </ac:spMkLst>
        </pc:spChg>
        <pc:spChg chg="add del mod">
          <ac:chgData name="Oltmann, Mareike (DI MC MTS DG VAL)" userId="e9d180a7-92fa-4729-bbe0-3cd6fe0b20a6" providerId="ADAL" clId="{59405620-8A3E-462B-BE69-8D4876A7820E}" dt="2023-07-04T09:19:30.635" v="956" actId="478"/>
          <ac:spMkLst>
            <pc:docMk/>
            <pc:sldMk cId="1494394373" sldId="2147375846"/>
            <ac:spMk id="25" creationId="{BCC1964A-69D2-314A-54ED-6F150F688417}"/>
          </ac:spMkLst>
        </pc:spChg>
        <pc:spChg chg="add del mod modVis">
          <ac:chgData name="Oltmann, Mareike (DI MC MTS DG VAL)" userId="e9d180a7-92fa-4729-bbe0-3cd6fe0b20a6" providerId="ADAL" clId="{59405620-8A3E-462B-BE69-8D4876A7820E}" dt="2023-07-04T09:28:23.189" v="1307"/>
          <ac:spMkLst>
            <pc:docMk/>
            <pc:sldMk cId="1494394373" sldId="2147375846"/>
            <ac:spMk id="26" creationId="{3F79706C-0B36-9A15-DF4A-AC36F2C7623B}"/>
          </ac:spMkLst>
        </pc:spChg>
        <pc:spChg chg="add mod ord">
          <ac:chgData name="Oltmann, Mareike (DI MC MTS DG VAL)" userId="e9d180a7-92fa-4729-bbe0-3cd6fe0b20a6" providerId="ADAL" clId="{59405620-8A3E-462B-BE69-8D4876A7820E}" dt="2023-07-04T12:10:50.686" v="1867"/>
          <ac:spMkLst>
            <pc:docMk/>
            <pc:sldMk cId="1494394373" sldId="2147375846"/>
            <ac:spMk id="27" creationId="{4530E405-9692-DFA9-A62E-B83D0AA0512B}"/>
          </ac:spMkLst>
        </pc:spChg>
        <pc:spChg chg="add mod ord">
          <ac:chgData name="Oltmann, Mareike (DI MC MTS DG VAL)" userId="e9d180a7-92fa-4729-bbe0-3cd6fe0b20a6" providerId="ADAL" clId="{59405620-8A3E-462B-BE69-8D4876A7820E}" dt="2023-07-04T12:10:50.686" v="1869"/>
          <ac:spMkLst>
            <pc:docMk/>
            <pc:sldMk cId="1494394373" sldId="2147375846"/>
            <ac:spMk id="28" creationId="{BAECC9DD-1AED-CF32-30C3-1AD37D684A5C}"/>
          </ac:spMkLst>
        </pc:spChg>
        <pc:spChg chg="mod ord">
          <ac:chgData name="Oltmann, Mareike (DI MC MTS DG VAL)" userId="e9d180a7-92fa-4729-bbe0-3cd6fe0b20a6" providerId="ADAL" clId="{59405620-8A3E-462B-BE69-8D4876A7820E}" dt="2023-07-04T12:15:04.758" v="1965" actId="1076"/>
          <ac:spMkLst>
            <pc:docMk/>
            <pc:sldMk cId="1494394373" sldId="2147375846"/>
            <ac:spMk id="97" creationId="{637DF7FE-2125-B3E8-0895-635613BBD570}"/>
          </ac:spMkLst>
        </pc:spChg>
        <pc:spChg chg="mod ord">
          <ac:chgData name="Oltmann, Mareike (DI MC MTS DG VAL)" userId="e9d180a7-92fa-4729-bbe0-3cd6fe0b20a6" providerId="ADAL" clId="{59405620-8A3E-462B-BE69-8D4876A7820E}" dt="2023-07-04T12:15:04.758" v="1965" actId="1076"/>
          <ac:spMkLst>
            <pc:docMk/>
            <pc:sldMk cId="1494394373" sldId="2147375846"/>
            <ac:spMk id="98" creationId="{74F856BD-4362-5BEB-229B-53A0BAAF390D}"/>
          </ac:spMkLst>
        </pc:spChg>
        <pc:spChg chg="mod ord">
          <ac:chgData name="Oltmann, Mareike (DI MC MTS DG VAL)" userId="e9d180a7-92fa-4729-bbe0-3cd6fe0b20a6" providerId="ADAL" clId="{59405620-8A3E-462B-BE69-8D4876A7820E}" dt="2023-07-04T12:10:50.686" v="1876"/>
          <ac:spMkLst>
            <pc:docMk/>
            <pc:sldMk cId="1494394373" sldId="2147375846"/>
            <ac:spMk id="125" creationId="{7978D5EE-A1A8-4A0D-A761-4ACC5629442E}"/>
          </ac:spMkLst>
        </pc:spChg>
        <pc:spChg chg="mod ord">
          <ac:chgData name="Oltmann, Mareike (DI MC MTS DG VAL)" userId="e9d180a7-92fa-4729-bbe0-3cd6fe0b20a6" providerId="ADAL" clId="{59405620-8A3E-462B-BE69-8D4876A7820E}" dt="2023-07-04T12:31:14.793" v="2208" actId="20577"/>
          <ac:spMkLst>
            <pc:docMk/>
            <pc:sldMk cId="1494394373" sldId="2147375846"/>
            <ac:spMk id="147" creationId="{83996EAC-2F8D-49F8-885A-4C032CCF4B59}"/>
          </ac:spMkLst>
        </pc:spChg>
        <pc:grpChg chg="add mod ord">
          <ac:chgData name="Oltmann, Mareike (DI MC MTS DG VAL)" userId="e9d180a7-92fa-4729-bbe0-3cd6fe0b20a6" providerId="ADAL" clId="{59405620-8A3E-462B-BE69-8D4876A7820E}" dt="2023-07-04T12:18:06.032" v="1982"/>
          <ac:grpSpMkLst>
            <pc:docMk/>
            <pc:sldMk cId="1494394373" sldId="2147375846"/>
            <ac:grpSpMk id="9" creationId="{B9833F7D-F530-0E72-4BE4-9F5A67F407D7}"/>
          </ac:grpSpMkLst>
        </pc:grpChg>
        <pc:grpChg chg="mod">
          <ac:chgData name="Oltmann, Mareike (DI MC MTS DG VAL)" userId="e9d180a7-92fa-4729-bbe0-3cd6fe0b20a6" providerId="ADAL" clId="{59405620-8A3E-462B-BE69-8D4876A7820E}" dt="2023-07-04T09:19:10.018" v="953"/>
          <ac:grpSpMkLst>
            <pc:docMk/>
            <pc:sldMk cId="1494394373" sldId="2147375846"/>
            <ac:grpSpMk id="10" creationId="{E9388E76-75D1-E3F0-0D5B-F56DA6F38F9C}"/>
          </ac:grpSpMkLst>
        </pc:grpChg>
        <pc:graphicFrameChg chg="mod">
          <ac:chgData name="Oltmann, Mareike (DI MC MTS DG VAL)" userId="e9d180a7-92fa-4729-bbe0-3cd6fe0b20a6" providerId="ADAL" clId="{59405620-8A3E-462B-BE69-8D4876A7820E}" dt="2023-07-04T12:10:50.708" v="1906"/>
          <ac:graphicFrameMkLst>
            <pc:docMk/>
            <pc:sldMk cId="1494394373" sldId="2147375846"/>
            <ac:graphicFrameMk id="117" creationId="{00000000-0000-0000-0000-000000000000}"/>
          </ac:graphicFrameMkLst>
        </pc:graphicFrameChg>
        <pc:picChg chg="add del mod">
          <ac:chgData name="Oltmann, Mareike (DI MC MTS DG VAL)" userId="e9d180a7-92fa-4729-bbe0-3cd6fe0b20a6" providerId="ADAL" clId="{59405620-8A3E-462B-BE69-8D4876A7820E}" dt="2023-07-04T09:20:25.426" v="960" actId="478"/>
          <ac:picMkLst>
            <pc:docMk/>
            <pc:sldMk cId="1494394373" sldId="2147375846"/>
            <ac:picMk id="4" creationId="{85C0E0A1-A354-1DAD-2ED2-1AA6A9EB1B46}"/>
          </ac:picMkLst>
        </pc:picChg>
        <pc:picChg chg="add mod ord">
          <ac:chgData name="Oltmann, Mareike (DI MC MTS DG VAL)" userId="e9d180a7-92fa-4729-bbe0-3cd6fe0b20a6" providerId="ADAL" clId="{59405620-8A3E-462B-BE69-8D4876A7820E}" dt="2023-07-04T12:18:01.596" v="1981"/>
          <ac:picMkLst>
            <pc:docMk/>
            <pc:sldMk cId="1494394373" sldId="2147375846"/>
            <ac:picMk id="5" creationId="{234EB4E9-8554-D749-EF79-453972AFD276}"/>
          </ac:picMkLst>
        </pc:picChg>
        <pc:picChg chg="mod">
          <ac:chgData name="Oltmann, Mareike (DI MC MTS DG VAL)" userId="e9d180a7-92fa-4729-bbe0-3cd6fe0b20a6" providerId="ADAL" clId="{59405620-8A3E-462B-BE69-8D4876A7820E}" dt="2023-07-04T09:19:10.018" v="953"/>
          <ac:picMkLst>
            <pc:docMk/>
            <pc:sldMk cId="1494394373" sldId="2147375846"/>
            <ac:picMk id="13" creationId="{9A087BE9-F137-9ED8-E905-B606FB53E391}"/>
          </ac:picMkLst>
        </pc:picChg>
        <pc:picChg chg="add mod ord">
          <ac:chgData name="Oltmann, Mareike (DI MC MTS DG VAL)" userId="e9d180a7-92fa-4729-bbe0-3cd6fe0b20a6" providerId="ADAL" clId="{59405620-8A3E-462B-BE69-8D4876A7820E}" dt="2023-07-04T12:15:39.607" v="1969" actId="14100"/>
          <ac:picMkLst>
            <pc:docMk/>
            <pc:sldMk cId="1494394373" sldId="2147375846"/>
            <ac:picMk id="19" creationId="{BEA7118B-959F-33EE-1A87-4EF52F981A56}"/>
          </ac:picMkLst>
        </pc:picChg>
        <pc:picChg chg="add mod ord">
          <ac:chgData name="Oltmann, Mareike (DI MC MTS DG VAL)" userId="e9d180a7-92fa-4729-bbe0-3cd6fe0b20a6" providerId="ADAL" clId="{59405620-8A3E-462B-BE69-8D4876A7820E}" dt="2023-07-04T12:15:39.607" v="1969" actId="14100"/>
          <ac:picMkLst>
            <pc:docMk/>
            <pc:sldMk cId="1494394373" sldId="2147375846"/>
            <ac:picMk id="20" creationId="{2360C089-F1D1-DD84-3C11-3A5836759D08}"/>
          </ac:picMkLst>
        </pc:picChg>
        <pc:picChg chg="del">
          <ac:chgData name="Oltmann, Mareike (DI MC MTS DG VAL)" userId="e9d180a7-92fa-4729-bbe0-3cd6fe0b20a6" providerId="ADAL" clId="{59405620-8A3E-462B-BE69-8D4876A7820E}" dt="2023-07-04T09:20:28.048" v="961" actId="478"/>
          <ac:picMkLst>
            <pc:docMk/>
            <pc:sldMk cId="1494394373" sldId="2147375846"/>
            <ac:picMk id="123" creationId="{CD43D9EB-7027-4B73-8EF4-6F03AE25AD8C}"/>
          </ac:picMkLst>
        </pc:picChg>
        <pc:cxnChg chg="mod ord">
          <ac:chgData name="Oltmann, Mareike (DI MC MTS DG VAL)" userId="e9d180a7-92fa-4729-bbe0-3cd6fe0b20a6" providerId="ADAL" clId="{59405620-8A3E-462B-BE69-8D4876A7820E}" dt="2023-07-04T12:10:50.686" v="1878"/>
          <ac:cxnSpMkLst>
            <pc:docMk/>
            <pc:sldMk cId="1494394373" sldId="2147375846"/>
            <ac:cxnSpMk id="127" creationId="{CC33913C-BDD9-47B2-A0A2-BE44284935B1}"/>
          </ac:cxnSpMkLst>
        </pc:cxnChg>
      </pc:sldChg>
      <pc:sldChg chg="addSp delSp modSp add mod">
        <pc:chgData name="Oltmann, Mareike (DI MC MTS DG VAL)" userId="e9d180a7-92fa-4729-bbe0-3cd6fe0b20a6" providerId="ADAL" clId="{59405620-8A3E-462B-BE69-8D4876A7820E}" dt="2023-07-06T09:03:29.713" v="2821" actId="20577"/>
        <pc:sldMkLst>
          <pc:docMk/>
          <pc:sldMk cId="780728259" sldId="2147375847"/>
        </pc:sldMkLst>
        <pc:spChg chg="mod ord">
          <ac:chgData name="Oltmann, Mareike (DI MC MTS DG VAL)" userId="e9d180a7-92fa-4729-bbe0-3cd6fe0b20a6" providerId="ADAL" clId="{59405620-8A3E-462B-BE69-8D4876A7820E}" dt="2023-07-04T12:20:02.985" v="2058"/>
          <ac:spMkLst>
            <pc:docMk/>
            <pc:sldMk cId="780728259" sldId="2147375847"/>
            <ac:spMk id="2" creationId="{E5D5FE2E-D6B9-3D6C-C682-AF94679EE1D0}"/>
          </ac:spMkLst>
        </pc:spChg>
        <pc:spChg chg="mod">
          <ac:chgData name="Oltmann, Mareike (DI MC MTS DG VAL)" userId="e9d180a7-92fa-4729-bbe0-3cd6fe0b20a6" providerId="ADAL" clId="{59405620-8A3E-462B-BE69-8D4876A7820E}" dt="2023-07-04T12:20:02.985" v="2046"/>
          <ac:spMkLst>
            <pc:docMk/>
            <pc:sldMk cId="780728259" sldId="2147375847"/>
            <ac:spMk id="3" creationId="{3C58C7F8-0E06-4B11-B9F3-8351E44EF152}"/>
          </ac:spMkLst>
        </pc:spChg>
        <pc:spChg chg="mod ord">
          <ac:chgData name="Oltmann, Mareike (DI MC MTS DG VAL)" userId="e9d180a7-92fa-4729-bbe0-3cd6fe0b20a6" providerId="ADAL" clId="{59405620-8A3E-462B-BE69-8D4876A7820E}" dt="2023-07-04T12:20:02.985" v="2060"/>
          <ac:spMkLst>
            <pc:docMk/>
            <pc:sldMk cId="780728259" sldId="2147375847"/>
            <ac:spMk id="7" creationId="{02FEC501-1F1D-6BCB-D723-3564A24911F3}"/>
          </ac:spMkLst>
        </pc:spChg>
        <pc:spChg chg="add del mod modVis">
          <ac:chgData name="Oltmann, Mareike (DI MC MTS DG VAL)" userId="e9d180a7-92fa-4729-bbe0-3cd6fe0b20a6" providerId="ADAL" clId="{59405620-8A3E-462B-BE69-8D4876A7820E}" dt="2023-07-04T09:21:03.688" v="1038"/>
          <ac:spMkLst>
            <pc:docMk/>
            <pc:sldMk cId="780728259" sldId="2147375847"/>
            <ac:spMk id="18" creationId="{294280C3-CE09-0F0B-5819-AAF3C766CAB6}"/>
          </ac:spMkLst>
        </pc:spChg>
        <pc:spChg chg="add del mod modVis">
          <ac:chgData name="Oltmann, Mareike (DI MC MTS DG VAL)" userId="e9d180a7-92fa-4729-bbe0-3cd6fe0b20a6" providerId="ADAL" clId="{59405620-8A3E-462B-BE69-8D4876A7820E}" dt="2023-07-04T12:20:12.878" v="2121"/>
          <ac:spMkLst>
            <pc:docMk/>
            <pc:sldMk cId="780728259" sldId="2147375847"/>
            <ac:spMk id="21" creationId="{87F51045-C190-08FE-683D-DA1820861091}"/>
          </ac:spMkLst>
        </pc:spChg>
        <pc:spChg chg="mod ord">
          <ac:chgData name="Oltmann, Mareike (DI MC MTS DG VAL)" userId="e9d180a7-92fa-4729-bbe0-3cd6fe0b20a6" providerId="ADAL" clId="{59405620-8A3E-462B-BE69-8D4876A7820E}" dt="2023-07-04T12:20:02.985" v="2045"/>
          <ac:spMkLst>
            <pc:docMk/>
            <pc:sldMk cId="780728259" sldId="2147375847"/>
            <ac:spMk id="22" creationId="{62D89CB8-417C-4AD2-8C88-CC0F19F4558A}"/>
          </ac:spMkLst>
        </pc:spChg>
        <pc:spChg chg="add del mod modVis">
          <ac:chgData name="Oltmann, Mareike (DI MC MTS DG VAL)" userId="e9d180a7-92fa-4729-bbe0-3cd6fe0b20a6" providerId="ADAL" clId="{59405620-8A3E-462B-BE69-8D4876A7820E}" dt="2023-07-04T12:20:20.486" v="2166"/>
          <ac:spMkLst>
            <pc:docMk/>
            <pc:sldMk cId="780728259" sldId="2147375847"/>
            <ac:spMk id="23" creationId="{D17C80D1-ACE5-ECD1-BC52-9503528EAFAF}"/>
          </ac:spMkLst>
        </pc:spChg>
        <pc:spChg chg="mod ord">
          <ac:chgData name="Oltmann, Mareike (DI MC MTS DG VAL)" userId="e9d180a7-92fa-4729-bbe0-3cd6fe0b20a6" providerId="ADAL" clId="{59405620-8A3E-462B-BE69-8D4876A7820E}" dt="2023-07-06T09:03:29.713" v="2821" actId="20577"/>
          <ac:spMkLst>
            <pc:docMk/>
            <pc:sldMk cId="780728259" sldId="2147375847"/>
            <ac:spMk id="27" creationId="{452FCBE7-3725-4DF4-9B4E-FF9616B2907A}"/>
          </ac:spMkLst>
        </pc:spChg>
        <pc:spChg chg="mod ord">
          <ac:chgData name="Oltmann, Mareike (DI MC MTS DG VAL)" userId="e9d180a7-92fa-4729-bbe0-3cd6fe0b20a6" providerId="ADAL" clId="{59405620-8A3E-462B-BE69-8D4876A7820E}" dt="2023-07-04T12:20:20.424" v="2125" actId="948"/>
          <ac:spMkLst>
            <pc:docMk/>
            <pc:sldMk cId="780728259" sldId="2147375847"/>
            <ac:spMk id="109572" creationId="{00000000-0000-0000-0000-000000000000}"/>
          </ac:spMkLst>
        </pc:spChg>
        <pc:grpChg chg="add mod ord">
          <ac:chgData name="Oltmann, Mareike (DI MC MTS DG VAL)" userId="e9d180a7-92fa-4729-bbe0-3cd6fe0b20a6" providerId="ADAL" clId="{59405620-8A3E-462B-BE69-8D4876A7820E}" dt="2023-07-04T12:20:02.985" v="2062"/>
          <ac:grpSpMkLst>
            <pc:docMk/>
            <pc:sldMk cId="780728259" sldId="2147375847"/>
            <ac:grpSpMk id="5" creationId="{71824844-3045-4BBF-825C-2CD65FB8DA8F}"/>
          </ac:grpSpMkLst>
        </pc:grpChg>
        <pc:grpChg chg="add mod ord">
          <ac:chgData name="Oltmann, Mareike (DI MC MTS DG VAL)" userId="e9d180a7-92fa-4729-bbe0-3cd6fe0b20a6" providerId="ADAL" clId="{59405620-8A3E-462B-BE69-8D4876A7820E}" dt="2023-07-04T12:20:03.001" v="2070"/>
          <ac:grpSpMkLst>
            <pc:docMk/>
            <pc:sldMk cId="780728259" sldId="2147375847"/>
            <ac:grpSpMk id="12" creationId="{1F41A427-C927-41CA-7865-500412DD99B1}"/>
          </ac:grpSpMkLst>
        </pc:grpChg>
        <pc:graphicFrameChg chg="mod">
          <ac:chgData name="Oltmann, Mareike (DI MC MTS DG VAL)" userId="e9d180a7-92fa-4729-bbe0-3cd6fe0b20a6" providerId="ADAL" clId="{59405620-8A3E-462B-BE69-8D4876A7820E}" dt="2023-07-04T12:20:20.502" v="2168"/>
          <ac:graphicFrameMkLst>
            <pc:docMk/>
            <pc:sldMk cId="780728259" sldId="2147375847"/>
            <ac:graphicFrameMk id="4" creationId="{D2AE3AEB-1372-4018-A74B-C9F4D007F395}"/>
          </ac:graphicFrameMkLst>
        </pc:graphicFrameChg>
        <pc:picChg chg="add mod ord">
          <ac:chgData name="Oltmann, Mareike (DI MC MTS DG VAL)" userId="e9d180a7-92fa-4729-bbe0-3cd6fe0b20a6" providerId="ADAL" clId="{59405620-8A3E-462B-BE69-8D4876A7820E}" dt="2023-07-04T12:20:02.985" v="2064"/>
          <ac:picMkLst>
            <pc:docMk/>
            <pc:sldMk cId="780728259" sldId="2147375847"/>
            <ac:picMk id="9" creationId="{BE80C366-22C0-7063-FC6B-2D26B3D51317}"/>
          </ac:picMkLst>
        </pc:picChg>
        <pc:picChg chg="add mod ord">
          <ac:chgData name="Oltmann, Mareike (DI MC MTS DG VAL)" userId="e9d180a7-92fa-4729-bbe0-3cd6fe0b20a6" providerId="ADAL" clId="{59405620-8A3E-462B-BE69-8D4876A7820E}" dt="2023-07-04T12:20:02.985" v="2066"/>
          <ac:picMkLst>
            <pc:docMk/>
            <pc:sldMk cId="780728259" sldId="2147375847"/>
            <ac:picMk id="10" creationId="{AC18A39D-1AFC-52A9-DAC1-9EE0D4EE2D9F}"/>
          </ac:picMkLst>
        </pc:picChg>
        <pc:picChg chg="add mod ord">
          <ac:chgData name="Oltmann, Mareike (DI MC MTS DG VAL)" userId="e9d180a7-92fa-4729-bbe0-3cd6fe0b20a6" providerId="ADAL" clId="{59405620-8A3E-462B-BE69-8D4876A7820E}" dt="2023-07-04T12:20:03.001" v="2068"/>
          <ac:picMkLst>
            <pc:docMk/>
            <pc:sldMk cId="780728259" sldId="2147375847"/>
            <ac:picMk id="11" creationId="{52CB17C3-5BE4-0764-6ED2-341D3A1D99CF}"/>
          </ac:picMkLst>
        </pc:picChg>
        <pc:picChg chg="add mod ord">
          <ac:chgData name="Oltmann, Mareike (DI MC MTS DG VAL)" userId="e9d180a7-92fa-4729-bbe0-3cd6fe0b20a6" providerId="ADAL" clId="{59405620-8A3E-462B-BE69-8D4876A7820E}" dt="2023-07-04T12:20:03.001" v="2072"/>
          <ac:picMkLst>
            <pc:docMk/>
            <pc:sldMk cId="780728259" sldId="2147375847"/>
            <ac:picMk id="15" creationId="{CACE0D42-1385-3BBB-434D-12AA4589EBCB}"/>
          </ac:picMkLst>
        </pc:picChg>
        <pc:picChg chg="add mod ord">
          <ac:chgData name="Oltmann, Mareike (DI MC MTS DG VAL)" userId="e9d180a7-92fa-4729-bbe0-3cd6fe0b20a6" providerId="ADAL" clId="{59405620-8A3E-462B-BE69-8D4876A7820E}" dt="2023-07-04T12:20:03.001" v="2074"/>
          <ac:picMkLst>
            <pc:docMk/>
            <pc:sldMk cId="780728259" sldId="2147375847"/>
            <ac:picMk id="16" creationId="{D62BD75C-E94A-1E40-5084-1FE822886214}"/>
          </ac:picMkLst>
        </pc:picChg>
        <pc:picChg chg="add del mod">
          <ac:chgData name="Oltmann, Mareike (DI MC MTS DG VAL)" userId="e9d180a7-92fa-4729-bbe0-3cd6fe0b20a6" providerId="ADAL" clId="{59405620-8A3E-462B-BE69-8D4876A7820E}" dt="2023-07-04T12:20:00.615" v="2040" actId="478"/>
          <ac:picMkLst>
            <pc:docMk/>
            <pc:sldMk cId="780728259" sldId="2147375847"/>
            <ac:picMk id="17" creationId="{603312B9-0015-C605-48D4-C512DBE9036D}"/>
          </ac:picMkLst>
        </pc:picChg>
        <pc:picChg chg="mod ord">
          <ac:chgData name="Oltmann, Mareike (DI MC MTS DG VAL)" userId="e9d180a7-92fa-4729-bbe0-3cd6fe0b20a6" providerId="ADAL" clId="{59405620-8A3E-462B-BE69-8D4876A7820E}" dt="2023-07-04T12:20:02.985" v="2050"/>
          <ac:picMkLst>
            <pc:docMk/>
            <pc:sldMk cId="780728259" sldId="2147375847"/>
            <ac:picMk id="19" creationId="{56DBDD89-CCBA-451C-9341-19E87D472285}"/>
          </ac:picMkLst>
        </pc:picChg>
        <pc:picChg chg="add mod">
          <ac:chgData name="Oltmann, Mareike (DI MC MTS DG VAL)" userId="e9d180a7-92fa-4729-bbe0-3cd6fe0b20a6" providerId="ADAL" clId="{59405620-8A3E-462B-BE69-8D4876A7820E}" dt="2023-07-04T12:20:02.985" v="2043"/>
          <ac:picMkLst>
            <pc:docMk/>
            <pc:sldMk cId="780728259" sldId="2147375847"/>
            <ac:picMk id="20" creationId="{F3BC12EA-7618-FD35-70F7-75269D7F78A4}"/>
          </ac:picMkLst>
        </pc:picChg>
        <pc:picChg chg="mod ord">
          <ac:chgData name="Oltmann, Mareike (DI MC MTS DG VAL)" userId="e9d180a7-92fa-4729-bbe0-3cd6fe0b20a6" providerId="ADAL" clId="{59405620-8A3E-462B-BE69-8D4876A7820E}" dt="2023-07-04T12:20:02.985" v="2056"/>
          <ac:picMkLst>
            <pc:docMk/>
            <pc:sldMk cId="780728259" sldId="2147375847"/>
            <ac:picMk id="32" creationId="{B351CEBF-E9B0-40B2-9746-FC99CC53BA2B}"/>
          </ac:picMkLst>
        </pc:picChg>
        <pc:cxnChg chg="mod">
          <ac:chgData name="Oltmann, Mareike (DI MC MTS DG VAL)" userId="e9d180a7-92fa-4729-bbe0-3cd6fe0b20a6" providerId="ADAL" clId="{59405620-8A3E-462B-BE69-8D4876A7820E}" dt="2023-07-04T09:20:45.548" v="962"/>
          <ac:cxnSpMkLst>
            <pc:docMk/>
            <pc:sldMk cId="780728259" sldId="2147375847"/>
            <ac:cxnSpMk id="6" creationId="{80526071-EE31-16BD-536A-4178CC6F87D0}"/>
          </ac:cxnSpMkLst>
        </pc:cxnChg>
        <pc:cxnChg chg="mod">
          <ac:chgData name="Oltmann, Mareike (DI MC MTS DG VAL)" userId="e9d180a7-92fa-4729-bbe0-3cd6fe0b20a6" providerId="ADAL" clId="{59405620-8A3E-462B-BE69-8D4876A7820E}" dt="2023-07-04T09:20:45.548" v="962"/>
          <ac:cxnSpMkLst>
            <pc:docMk/>
            <pc:sldMk cId="780728259" sldId="2147375847"/>
            <ac:cxnSpMk id="8" creationId="{9E2BCBD6-3FE2-F27B-F6DD-6C415413F30B}"/>
          </ac:cxnSpMkLst>
        </pc:cxnChg>
        <pc:cxnChg chg="mod">
          <ac:chgData name="Oltmann, Mareike (DI MC MTS DG VAL)" userId="e9d180a7-92fa-4729-bbe0-3cd6fe0b20a6" providerId="ADAL" clId="{59405620-8A3E-462B-BE69-8D4876A7820E}" dt="2023-07-04T09:20:45.548" v="962"/>
          <ac:cxnSpMkLst>
            <pc:docMk/>
            <pc:sldMk cId="780728259" sldId="2147375847"/>
            <ac:cxnSpMk id="13" creationId="{E94A24A7-6594-686E-23E4-065DFB3608C4}"/>
          </ac:cxnSpMkLst>
        </pc:cxnChg>
        <pc:cxnChg chg="mod">
          <ac:chgData name="Oltmann, Mareike (DI MC MTS DG VAL)" userId="e9d180a7-92fa-4729-bbe0-3cd6fe0b20a6" providerId="ADAL" clId="{59405620-8A3E-462B-BE69-8D4876A7820E}" dt="2023-07-04T09:20:45.548" v="962"/>
          <ac:cxnSpMkLst>
            <pc:docMk/>
            <pc:sldMk cId="780728259" sldId="2147375847"/>
            <ac:cxnSpMk id="14" creationId="{587915E2-1DD5-C8DF-F18A-93DCFD5B7242}"/>
          </ac:cxnSpMkLst>
        </pc:cxnChg>
        <pc:cxnChg chg="mod ord">
          <ac:chgData name="Oltmann, Mareike (DI MC MTS DG VAL)" userId="e9d180a7-92fa-4729-bbe0-3cd6fe0b20a6" providerId="ADAL" clId="{59405620-8A3E-462B-BE69-8D4876A7820E}" dt="2023-07-04T12:20:02.985" v="2054"/>
          <ac:cxnSpMkLst>
            <pc:docMk/>
            <pc:sldMk cId="780728259" sldId="2147375847"/>
            <ac:cxnSpMk id="29" creationId="{E1B3494E-DE9A-4007-B52A-B6628824FA98}"/>
          </ac:cxnSpMkLst>
        </pc:cxnChg>
      </pc:sldChg>
      <pc:sldChg chg="addSp delSp modSp add mod">
        <pc:chgData name="Oltmann, Mareike (DI MC MTS DG VAL)" userId="e9d180a7-92fa-4729-bbe0-3cd6fe0b20a6" providerId="ADAL" clId="{59405620-8A3E-462B-BE69-8D4876A7820E}" dt="2023-07-04T12:27:47.833" v="2187" actId="1076"/>
        <pc:sldMkLst>
          <pc:docMk/>
          <pc:sldMk cId="2010505443" sldId="2147375848"/>
        </pc:sldMkLst>
        <pc:spChg chg="mod">
          <ac:chgData name="Oltmann, Mareike (DI MC MTS DG VAL)" userId="e9d180a7-92fa-4729-bbe0-3cd6fe0b20a6" providerId="ADAL" clId="{59405620-8A3E-462B-BE69-8D4876A7820E}" dt="2023-07-04T11:26:42.493" v="1471"/>
          <ac:spMkLst>
            <pc:docMk/>
            <pc:sldMk cId="2010505443" sldId="2147375848"/>
            <ac:spMk id="3" creationId="{3C58C7F8-0E06-4B11-B9F3-8351E44EF152}"/>
          </ac:spMkLst>
        </pc:spChg>
        <pc:spChg chg="mod ord">
          <ac:chgData name="Oltmann, Mareike (DI MC MTS DG VAL)" userId="e9d180a7-92fa-4729-bbe0-3cd6fe0b20a6" providerId="ADAL" clId="{59405620-8A3E-462B-BE69-8D4876A7820E}" dt="2023-07-04T11:26:42.503" v="1477"/>
          <ac:spMkLst>
            <pc:docMk/>
            <pc:sldMk cId="2010505443" sldId="2147375848"/>
            <ac:spMk id="5" creationId="{A2C6878B-A134-48CA-B792-7DFEB0FE42C0}"/>
          </ac:spMkLst>
        </pc:spChg>
        <pc:spChg chg="mod ord">
          <ac:chgData name="Oltmann, Mareike (DI MC MTS DG VAL)" userId="e9d180a7-92fa-4729-bbe0-3cd6fe0b20a6" providerId="ADAL" clId="{59405620-8A3E-462B-BE69-8D4876A7820E}" dt="2023-07-04T11:26:42.503" v="1479"/>
          <ac:spMkLst>
            <pc:docMk/>
            <pc:sldMk cId="2010505443" sldId="2147375848"/>
            <ac:spMk id="6" creationId="{1468E3E6-0A12-40EF-B911-2B7F916E07CA}"/>
          </ac:spMkLst>
        </pc:spChg>
        <pc:spChg chg="add del mod modVis">
          <ac:chgData name="Oltmann, Mareike (DI MC MTS DG VAL)" userId="e9d180a7-92fa-4729-bbe0-3cd6fe0b20a6" providerId="ADAL" clId="{59405620-8A3E-462B-BE69-8D4876A7820E}" dt="2023-07-04T09:07:10.315" v="612"/>
          <ac:spMkLst>
            <pc:docMk/>
            <pc:sldMk cId="2010505443" sldId="2147375848"/>
            <ac:spMk id="7" creationId="{86631E02-D31B-BB4F-188C-026E61D07BC0}"/>
          </ac:spMkLst>
        </pc:spChg>
        <pc:spChg chg="mod ord">
          <ac:chgData name="Oltmann, Mareike (DI MC MTS DG VAL)" userId="e9d180a7-92fa-4729-bbe0-3cd6fe0b20a6" providerId="ADAL" clId="{59405620-8A3E-462B-BE69-8D4876A7820E}" dt="2023-07-04T12:27:35.997" v="2186" actId="1076"/>
          <ac:spMkLst>
            <pc:docMk/>
            <pc:sldMk cId="2010505443" sldId="2147375848"/>
            <ac:spMk id="11" creationId="{00000000-0000-0000-0000-000000000000}"/>
          </ac:spMkLst>
        </pc:spChg>
        <pc:spChg chg="mod ord">
          <ac:chgData name="Oltmann, Mareike (DI MC MTS DG VAL)" userId="e9d180a7-92fa-4729-bbe0-3cd6fe0b20a6" providerId="ADAL" clId="{59405620-8A3E-462B-BE69-8D4876A7820E}" dt="2023-07-04T12:27:12.966" v="2185" actId="1076"/>
          <ac:spMkLst>
            <pc:docMk/>
            <pc:sldMk cId="2010505443" sldId="2147375848"/>
            <ac:spMk id="18" creationId="{EA2D14DE-043A-42E1-8CFD-A5EB9B0412D8}"/>
          </ac:spMkLst>
        </pc:spChg>
        <pc:spChg chg="del mod">
          <ac:chgData name="Oltmann, Mareike (DI MC MTS DG VAL)" userId="e9d180a7-92fa-4729-bbe0-3cd6fe0b20a6" providerId="ADAL" clId="{59405620-8A3E-462B-BE69-8D4876A7820E}" dt="2023-07-04T09:22:08.793" v="1053" actId="478"/>
          <ac:spMkLst>
            <pc:docMk/>
            <pc:sldMk cId="2010505443" sldId="2147375848"/>
            <ac:spMk id="22" creationId="{980F0221-5101-4C7F-8318-B1A9E145C8F6}"/>
          </ac:spMkLst>
        </pc:spChg>
        <pc:spChg chg="del mod">
          <ac:chgData name="Oltmann, Mareike (DI MC MTS DG VAL)" userId="e9d180a7-92fa-4729-bbe0-3cd6fe0b20a6" providerId="ADAL" clId="{59405620-8A3E-462B-BE69-8D4876A7820E}" dt="2023-07-04T09:22:09.544" v="1054" actId="478"/>
          <ac:spMkLst>
            <pc:docMk/>
            <pc:sldMk cId="2010505443" sldId="2147375848"/>
            <ac:spMk id="23" creationId="{5E1134AA-4EB7-4AE4-88D8-3502E0099F66}"/>
          </ac:spMkLst>
        </pc:spChg>
        <pc:spChg chg="mod ord">
          <ac:chgData name="Oltmann, Mareike (DI MC MTS DG VAL)" userId="e9d180a7-92fa-4729-bbe0-3cd6fe0b20a6" providerId="ADAL" clId="{59405620-8A3E-462B-BE69-8D4876A7820E}" dt="2023-07-04T11:26:42.493" v="1473"/>
          <ac:spMkLst>
            <pc:docMk/>
            <pc:sldMk cId="2010505443" sldId="2147375848"/>
            <ac:spMk id="109572" creationId="{00000000-0000-0000-0000-000000000000}"/>
          </ac:spMkLst>
        </pc:spChg>
        <pc:graphicFrameChg chg="mod">
          <ac:chgData name="Oltmann, Mareike (DI MC MTS DG VAL)" userId="e9d180a7-92fa-4729-bbe0-3cd6fe0b20a6" providerId="ADAL" clId="{59405620-8A3E-462B-BE69-8D4876A7820E}" dt="2023-07-04T11:26:42.503" v="1490"/>
          <ac:graphicFrameMkLst>
            <pc:docMk/>
            <pc:sldMk cId="2010505443" sldId="2147375848"/>
            <ac:graphicFrameMk id="4" creationId="{D2AE3AEB-1372-4018-A74B-C9F4D007F395}"/>
          </ac:graphicFrameMkLst>
        </pc:graphicFrameChg>
        <pc:picChg chg="del mod">
          <ac:chgData name="Oltmann, Mareike (DI MC MTS DG VAL)" userId="e9d180a7-92fa-4729-bbe0-3cd6fe0b20a6" providerId="ADAL" clId="{59405620-8A3E-462B-BE69-8D4876A7820E}" dt="2023-07-04T11:26:44.126" v="1491" actId="478"/>
          <ac:picMkLst>
            <pc:docMk/>
            <pc:sldMk cId="2010505443" sldId="2147375848"/>
            <ac:picMk id="2" creationId="{E4D21E78-4C9B-868A-B6D3-461D593C1744}"/>
          </ac:picMkLst>
        </pc:picChg>
        <pc:picChg chg="mod ord">
          <ac:chgData name="Oltmann, Mareike (DI MC MTS DG VAL)" userId="e9d180a7-92fa-4729-bbe0-3cd6fe0b20a6" providerId="ADAL" clId="{59405620-8A3E-462B-BE69-8D4876A7820E}" dt="2023-07-04T11:26:42.503" v="1481"/>
          <ac:picMkLst>
            <pc:docMk/>
            <pc:sldMk cId="2010505443" sldId="2147375848"/>
            <ac:picMk id="15" creationId="{1A9D8385-38F3-4496-8D48-6F4BA36249EE}"/>
          </ac:picMkLst>
        </pc:picChg>
        <pc:picChg chg="add mod">
          <ac:chgData name="Oltmann, Mareike (DI MC MTS DG VAL)" userId="e9d180a7-92fa-4729-bbe0-3cd6fe0b20a6" providerId="ADAL" clId="{59405620-8A3E-462B-BE69-8D4876A7820E}" dt="2023-07-04T11:26:42.503" v="1486"/>
          <ac:picMkLst>
            <pc:docMk/>
            <pc:sldMk cId="2010505443" sldId="2147375848"/>
            <ac:picMk id="1026" creationId="{077D0544-5402-E2BC-9F8B-5D6F89E47003}"/>
          </ac:picMkLst>
        </pc:picChg>
        <pc:picChg chg="add mod">
          <ac:chgData name="Oltmann, Mareike (DI MC MTS DG VAL)" userId="e9d180a7-92fa-4729-bbe0-3cd6fe0b20a6" providerId="ADAL" clId="{59405620-8A3E-462B-BE69-8D4876A7820E}" dt="2023-07-04T11:28:21.155" v="1496" actId="18131"/>
          <ac:picMkLst>
            <pc:docMk/>
            <pc:sldMk cId="2010505443" sldId="2147375848"/>
            <ac:picMk id="1028" creationId="{070D5F44-6BFC-3D47-FF80-34C0CF96E67C}"/>
          </ac:picMkLst>
        </pc:picChg>
        <pc:cxnChg chg="mod ord">
          <ac:chgData name="Oltmann, Mareike (DI MC MTS DG VAL)" userId="e9d180a7-92fa-4729-bbe0-3cd6fe0b20a6" providerId="ADAL" clId="{59405620-8A3E-462B-BE69-8D4876A7820E}" dt="2023-07-04T12:27:47.833" v="2187" actId="1076"/>
          <ac:cxnSpMkLst>
            <pc:docMk/>
            <pc:sldMk cId="2010505443" sldId="2147375848"/>
            <ac:cxnSpMk id="19" creationId="{A20163A6-CD09-4567-9C0E-6D561E248C0B}"/>
          </ac:cxnSpMkLst>
        </pc:cxnChg>
        <pc:cxnChg chg="del">
          <ac:chgData name="Oltmann, Mareike (DI MC MTS DG VAL)" userId="e9d180a7-92fa-4729-bbe0-3cd6fe0b20a6" providerId="ADAL" clId="{59405620-8A3E-462B-BE69-8D4876A7820E}" dt="2023-07-04T09:22:03.235" v="1051" actId="478"/>
          <ac:cxnSpMkLst>
            <pc:docMk/>
            <pc:sldMk cId="2010505443" sldId="2147375848"/>
            <ac:cxnSpMk id="24" creationId="{68EC42FE-8C51-4CD5-85FA-57C3ABE41BC7}"/>
          </ac:cxnSpMkLst>
        </pc:cxn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de-DE" sz="1050" b="1"/>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r>
              <a:rPr lang="de-DE" sz="1050"/>
              <a:t>29.09.2020</a:t>
            </a:r>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de-DE" sz="105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de-DE" sz="1050" b="1">
                <a:solidFill>
                  <a:schemeClr val="accent2"/>
                </a:solidFill>
              </a:rPr>
              <a:t>Handzettel</a:t>
            </a:r>
            <a:r>
              <a:rPr lang="de-DE" sz="1050">
                <a:solidFill>
                  <a:schemeClr val="accent2"/>
                </a:solidFill>
              </a:rPr>
              <a:t> </a:t>
            </a:r>
            <a:fld id="{C92BABF8-1341-4DCB-864A-D83C08BEEAE4}" type="slidenum">
              <a:rPr lang="de-DE" sz="1050" smtClean="0"/>
              <a:t>‹Nr.›</a:t>
            </a:fld>
            <a:endParaRPr lang="de-DE" sz="105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rtl="0">
              <a:defRPr sz="1050" b="1"/>
            </a:lvl1pPr>
          </a:lstStyle>
          <a:p>
            <a:endParaRPr lang="en-US"/>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rtl="0">
              <a:defRPr sz="1050"/>
            </a:lvl1pPr>
          </a:lstStyle>
          <a:p>
            <a:r>
              <a:rPr lang="en-US"/>
              <a:t>29.09.2020</a:t>
            </a:r>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de-DE" noProof="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rtl="0">
              <a:defRPr sz="1050"/>
            </a:lvl1pPr>
          </a:lstStyle>
          <a:p>
            <a:endParaRPr lang="en-US"/>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rtl="0">
              <a:defRPr sz="1050"/>
            </a:lvl1pPr>
          </a:lstStyle>
          <a:p>
            <a:r>
              <a:rPr lang="en-US" b="1">
                <a:solidFill>
                  <a:schemeClr val="accent2"/>
                </a:solidFill>
              </a:rPr>
              <a:t>Notizzettel</a:t>
            </a:r>
            <a:r>
              <a:rPr lang="en-US"/>
              <a:t> </a:t>
            </a:r>
            <a:fld id="{E76C657F-0E32-4130-ADDA-66B81138A76A}" type="slidenum">
              <a:rPr lang="en-US" smtClean="0"/>
              <a:pPr/>
              <a:t>‹Nr.›</a:t>
            </a:fld>
            <a:endParaRPr lang="en-US"/>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r>
              <a:rPr lang="en-US" b="1">
                <a:solidFill>
                  <a:schemeClr val="accent2"/>
                </a:solidFill>
              </a:rPr>
              <a:t>Notes 3</a:t>
            </a:r>
            <a:fld id="{E76C657F-0E32-4130-ADDA-66B81138A76A}" type="slidenum">
              <a:rPr lang="en-US" smtClean="0"/>
              <a:t>1</a:t>
            </a:fld>
            <a:endParaRPr lang="en-US"/>
          </a:p>
        </p:txBody>
      </p:sp>
    </p:spTree>
    <p:extLst>
      <p:ext uri="{BB962C8B-B14F-4D97-AF65-F5344CB8AC3E}">
        <p14:creationId xmlns:p14="http://schemas.microsoft.com/office/powerpoint/2010/main" val="3011979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r>
              <a:rPr lang="en-US" dirty="0">
                <a:solidFill>
                  <a:srgbClr val="000000"/>
                </a:solidFill>
                <a:latin typeface="Arial"/>
                <a:ea typeface="ＭＳ Ｐゴシック"/>
                <a:sym typeface="Arial"/>
              </a:rPr>
              <a:t>Getting from A to B: NX: Omit option Set intermediate points automatically (by point distance).</a:t>
            </a:r>
          </a:p>
        </p:txBody>
      </p:sp>
      <p:sp>
        <p:nvSpPr>
          <p:cNvPr id="4" name="Foliennummernplatzhalter 3"/>
          <p:cNvSpPr>
            <a:spLocks noGrp="1"/>
          </p:cNvSpPr>
          <p:nvPr>
            <p:ph type="sldNum" sz="quarter" idx="10"/>
          </p:nvPr>
        </p:nvSpPr>
        <p:spPr/>
        <p:txBody>
          <a:bodyPr/>
          <a:lstStyle/>
          <a:p>
            <a:r>
              <a:rPr lang="en-US">
                <a:latin typeface="Arial" pitchFamily="34" charset="0"/>
              </a:rPr>
              <a:t>Notes 9</a:t>
            </a:r>
            <a:fld id="{AD141568-5488-4AC9-B82D-9F5CE1225E2A}" type="slidenum">
              <a:rPr lang="en-US" smtClean="0">
                <a:latin typeface="Arial" pitchFamily="34" charset="0"/>
              </a:rPr>
              <a:t>10</a:t>
            </a:fld>
            <a:endParaRPr lang="en-US">
              <a:latin typeface="Arial" pitchFamily="34" charset="0"/>
            </a:endParaRPr>
          </a:p>
        </p:txBody>
      </p:sp>
    </p:spTree>
    <p:extLst>
      <p:ext uri="{BB962C8B-B14F-4D97-AF65-F5344CB8AC3E}">
        <p14:creationId xmlns:p14="http://schemas.microsoft.com/office/powerpoint/2010/main" val="1856913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252413" y="738188"/>
            <a:ext cx="6337300" cy="3563937"/>
          </a:xfrm>
          <a:noFill/>
        </p:spPr>
      </p:sp>
      <p:sp>
        <p:nvSpPr>
          <p:cNvPr id="17715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819528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en-US">
                <a:latin typeface="Arial" pitchFamily="34" charset="0"/>
              </a:rPr>
              <a:t>Notes </a:t>
            </a:r>
            <a:fld id="{AD141568-5488-4AC9-B82D-9F5CE1225E2A}" type="slidenum">
              <a:rPr lang="en-US" smtClean="0">
                <a:latin typeface="Arial" pitchFamily="34" charset="0"/>
              </a:rPr>
              <a:pPr/>
              <a:t>12</a:t>
            </a:fld>
            <a:endParaRPr lang="en-US">
              <a:latin typeface="Arial" pitchFamily="34" charset="0"/>
            </a:endParaRPr>
          </a:p>
        </p:txBody>
      </p:sp>
    </p:spTree>
    <p:extLst>
      <p:ext uri="{BB962C8B-B14F-4D97-AF65-F5344CB8AC3E}">
        <p14:creationId xmlns:p14="http://schemas.microsoft.com/office/powerpoint/2010/main" val="23261353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noAutofit/>
          </a:bodyPr>
          <a:lstStyle/>
          <a:p>
            <a:endParaRPr lang="en-US"/>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13</a:t>
            </a:fld>
            <a:endParaRPr lang="en-US">
              <a:latin typeface="Arial" pitchFamily="34" charset="0"/>
            </a:endParaRPr>
          </a:p>
        </p:txBody>
      </p:sp>
    </p:spTree>
    <p:extLst>
      <p:ext uri="{BB962C8B-B14F-4D97-AF65-F5344CB8AC3E}">
        <p14:creationId xmlns:p14="http://schemas.microsoft.com/office/powerpoint/2010/main" val="3001489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err="1">
                <a:solidFill>
                  <a:schemeClr val="accent2"/>
                </a:solidFill>
              </a:rPr>
              <a:t>Notizzettel</a:t>
            </a:r>
            <a:r>
              <a:rPr lang="en-US"/>
              <a:t> </a:t>
            </a:r>
            <a:fld id="{E76C657F-0E32-4130-ADDA-66B81138A76A}" type="slidenum">
              <a:rPr lang="en-US" smtClean="0"/>
              <a:pPr/>
              <a:t>2</a:t>
            </a:fld>
            <a:endParaRPr lang="en-US"/>
          </a:p>
        </p:txBody>
      </p:sp>
    </p:spTree>
    <p:extLst>
      <p:ext uri="{BB962C8B-B14F-4D97-AF65-F5344CB8AC3E}">
        <p14:creationId xmlns:p14="http://schemas.microsoft.com/office/powerpoint/2010/main" val="3902804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es 2</a:t>
            </a:r>
            <a:fld id="{AD141568-5488-4AC9-B82D-9F5CE1225E2A}" type="slidenum">
              <a:rPr lang="en-US" smtClean="0">
                <a:latin typeface="Arial" pitchFamily="34" charset="0"/>
              </a:rPr>
              <a:t>3</a:t>
            </a:fld>
            <a:endParaRPr lang="en-US">
              <a:latin typeface="Arial" pitchFamily="34" charset="0"/>
            </a:endParaRPr>
          </a:p>
        </p:txBody>
      </p:sp>
    </p:spTree>
    <p:extLst>
      <p:ext uri="{BB962C8B-B14F-4D97-AF65-F5344CB8AC3E}">
        <p14:creationId xmlns:p14="http://schemas.microsoft.com/office/powerpoint/2010/main" val="3576089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252413" y="738188"/>
            <a:ext cx="6337300" cy="3563937"/>
          </a:xfrm>
          <a:noFill/>
        </p:spPr>
      </p:sp>
      <p:sp>
        <p:nvSpPr>
          <p:cNvPr id="17715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602151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252413" y="738188"/>
            <a:ext cx="6337300" cy="3563937"/>
          </a:xfrm>
          <a:noFill/>
        </p:spPr>
      </p:sp>
      <p:sp>
        <p:nvSpPr>
          <p:cNvPr id="177155" name="Rectangle 3"/>
          <p:cNvSpPr>
            <a:spLocks noGrp="1" noChangeArrowheads="1"/>
          </p:cNvSpPr>
          <p:nvPr>
            <p:ph type="body" idx="1"/>
          </p:nvPr>
        </p:nvSpPr>
        <p:spPr/>
        <p:txBody>
          <a:bodyPr/>
          <a:lstStyle/>
          <a:p>
            <a:pPr>
              <a:lnSpc>
                <a:spcPct val="107000"/>
              </a:lnSpc>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he machine in question is a 6-Axis </a:t>
            </a:r>
            <a:r>
              <a:rPr lang="en-US" sz="1800" dirty="0" err="1">
                <a:effectLst/>
                <a:latin typeface="Calibri" panose="020F0502020204030204" pitchFamily="34" charset="0"/>
                <a:ea typeface="Calibri" panose="020F0502020204030204" pitchFamily="34" charset="0"/>
                <a:cs typeface="Arial" panose="020B0604020202020204" pitchFamily="34" charset="0"/>
              </a:rPr>
              <a:t>Comau</a:t>
            </a:r>
            <a:r>
              <a:rPr lang="en-US" sz="1800" dirty="0">
                <a:effectLst/>
                <a:latin typeface="Calibri" panose="020F0502020204030204" pitchFamily="34" charset="0"/>
                <a:ea typeface="Calibri" panose="020F0502020204030204" pitchFamily="34" charset="0"/>
                <a:cs typeface="Arial" panose="020B0604020202020204" pitchFamily="34" charset="0"/>
              </a:rPr>
              <a:t> robot, driven directly by SINUMERIK via Run </a:t>
            </a:r>
            <a:r>
              <a:rPr lang="en-US" sz="1800" dirty="0" err="1">
                <a:effectLst/>
                <a:latin typeface="Calibri" panose="020F0502020204030204" pitchFamily="34" charset="0"/>
                <a:ea typeface="Calibri" panose="020F0502020204030204" pitchFamily="34" charset="0"/>
                <a:cs typeface="Arial" panose="020B0604020202020204" pitchFamily="34" charset="0"/>
              </a:rPr>
              <a:t>MyRobot</a:t>
            </a:r>
            <a:r>
              <a:rPr lang="en-US" sz="1800" dirty="0">
                <a:effectLst/>
                <a:latin typeface="Calibri" panose="020F0502020204030204" pitchFamily="34" charset="0"/>
                <a:ea typeface="Calibri" panose="020F0502020204030204" pitchFamily="34" charset="0"/>
                <a:cs typeface="Arial" panose="020B0604020202020204" pitchFamily="34" charset="0"/>
              </a:rPr>
              <a:t> /</a:t>
            </a:r>
            <a:r>
              <a:rPr lang="en-US" sz="1800" dirty="0" err="1">
                <a:effectLst/>
                <a:latin typeface="Calibri" panose="020F0502020204030204" pitchFamily="34" charset="0"/>
                <a:ea typeface="Calibri" panose="020F0502020204030204" pitchFamily="34" charset="0"/>
                <a:cs typeface="Arial" panose="020B0604020202020204" pitchFamily="34" charset="0"/>
              </a:rPr>
              <a:t>DirectControl</a:t>
            </a:r>
            <a:r>
              <a:rPr lang="en-US" sz="1800" dirty="0">
                <a:effectLst/>
                <a:latin typeface="Calibri" panose="020F0502020204030204" pitchFamily="34" charset="0"/>
                <a:ea typeface="Calibri" panose="020F0502020204030204" pitchFamily="34" charset="0"/>
                <a:cs typeface="Arial" panose="020B0604020202020204" pitchFamily="34" charset="0"/>
              </a:rPr>
              <a:t>. </a:t>
            </a:r>
            <a:br>
              <a:rPr lang="en-US" sz="1800" dirty="0">
                <a:effectLst/>
                <a:latin typeface="Calibri" panose="020F0502020204030204" pitchFamily="34" charset="0"/>
                <a:ea typeface="Calibri" panose="020F0502020204030204" pitchFamily="34" charset="0"/>
                <a:cs typeface="Arial" panose="020B0604020202020204" pitchFamily="34" charset="0"/>
              </a:rPr>
            </a:br>
            <a:r>
              <a:rPr lang="en-US" sz="1800" dirty="0">
                <a:effectLst/>
                <a:latin typeface="Calibri" panose="020F0502020204030204" pitchFamily="34" charset="0"/>
                <a:ea typeface="Calibri" panose="020F0502020204030204" pitchFamily="34" charset="0"/>
                <a:cs typeface="Arial" panose="020B0604020202020204" pitchFamily="34" charset="0"/>
              </a:rPr>
              <a:t>It is equipped with a laser head, which is designed to melt steel powder, enabling the robot to repair/build workpieces via additive manufacturing, or more </a:t>
            </a:r>
            <a:r>
              <a:rPr lang="en-US" sz="1800" dirty="0" err="1">
                <a:effectLst/>
                <a:latin typeface="Calibri" panose="020F0502020204030204" pitchFamily="34" charset="0"/>
                <a:ea typeface="Calibri" panose="020F0502020204030204" pitchFamily="34" charset="0"/>
                <a:cs typeface="Arial" panose="020B0604020202020204" pitchFamily="34" charset="0"/>
              </a:rPr>
              <a:t>specificly</a:t>
            </a:r>
            <a:r>
              <a:rPr lang="en-US" sz="1800" dirty="0">
                <a:effectLst/>
                <a:latin typeface="Calibri" panose="020F0502020204030204" pitchFamily="34" charset="0"/>
                <a:ea typeface="Calibri" panose="020F0502020204030204" pitchFamily="34" charset="0"/>
                <a:cs typeface="Arial" panose="020B0604020202020204" pitchFamily="34" charset="0"/>
              </a:rPr>
              <a:t> “laser cladding”. </a:t>
            </a:r>
          </a:p>
          <a:p>
            <a:pPr>
              <a:lnSpc>
                <a:spcPct val="107000"/>
              </a:lnSpc>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he main use case is the repairing of single parts that would be much more expensive and energy consuming when manufactured new. </a:t>
            </a:r>
            <a:endParaRPr lang="de-DE"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Due to constant material output of the laser-head used for material deposition, the thickness of the coating increased when the TCP velocity was reduced. Chiron needed a solution to find out whether the speed dips are caused by the part model, the program, the machine parameter settings, or the machine mechanics, as the </a:t>
            </a:r>
            <a:r>
              <a:rPr lang="en-US" sz="1800" dirty="0" err="1">
                <a:effectLst/>
                <a:latin typeface="Calibri" panose="020F0502020204030204" pitchFamily="34" charset="0"/>
                <a:ea typeface="Calibri" panose="020F0502020204030204" pitchFamily="34" charset="0"/>
                <a:cs typeface="Arial" panose="020B0604020202020204" pitchFamily="34" charset="0"/>
              </a:rPr>
              <a:t>laserhead</a:t>
            </a:r>
            <a:r>
              <a:rPr lang="en-US" sz="1800" dirty="0">
                <a:effectLst/>
                <a:latin typeface="Calibri" panose="020F0502020204030204" pitchFamily="34" charset="0"/>
                <a:ea typeface="Calibri" panose="020F0502020204030204" pitchFamily="34" charset="0"/>
                <a:cs typeface="Arial" panose="020B0604020202020204" pitchFamily="34" charset="0"/>
              </a:rPr>
              <a:t> demanded a certain percentage of federate to produce useable parts. With the error information, optimization in Siemens NX where implemented.</a:t>
            </a:r>
            <a:endParaRPr lang="de-DE"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The goal was to achieve overall process optimization through toolpath programming, part program analysis and the digital twin.</a:t>
            </a:r>
            <a:endParaRPr lang="de-DE"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endParaRPr lang="en-US" dirty="0"/>
          </a:p>
        </p:txBody>
      </p:sp>
    </p:spTree>
    <p:extLst>
      <p:ext uri="{BB962C8B-B14F-4D97-AF65-F5344CB8AC3E}">
        <p14:creationId xmlns:p14="http://schemas.microsoft.com/office/powerpoint/2010/main" val="1711310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9700" y="768350"/>
            <a:ext cx="6821488" cy="3836988"/>
          </a:xfrm>
          <a:noFill/>
        </p:spPr>
      </p:sp>
      <p:sp>
        <p:nvSpPr>
          <p:cNvPr id="18125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599041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r>
              <a:rPr lang="de-DE">
                <a:latin typeface="Arial" pitchFamily="34" charset="0"/>
              </a:rPr>
              <a:t>Notes 6</a:t>
            </a:r>
            <a:fld id="{AD141568-5488-4AC9-B82D-9F5CE1225E2A}" type="slidenum">
              <a:rPr lang="de-DE" smtClean="0">
                <a:latin typeface="Arial" pitchFamily="34" charset="0"/>
              </a:rPr>
              <a:t>7</a:t>
            </a:fld>
            <a:endParaRPr lang="de-DE">
              <a:latin typeface="Arial" pitchFamily="34" charset="0"/>
            </a:endParaRPr>
          </a:p>
        </p:txBody>
      </p:sp>
    </p:spTree>
    <p:extLst>
      <p:ext uri="{BB962C8B-B14F-4D97-AF65-F5344CB8AC3E}">
        <p14:creationId xmlns:p14="http://schemas.microsoft.com/office/powerpoint/2010/main" val="4166263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de-DE">
                <a:latin typeface="Arial" pitchFamily="34" charset="0"/>
              </a:rPr>
              <a:t>Notes 7</a:t>
            </a:r>
            <a:fld id="{AD141568-5488-4AC9-B82D-9F5CE1225E2A}" type="slidenum">
              <a:rPr lang="de-DE" smtClean="0">
                <a:latin typeface="Arial" pitchFamily="34" charset="0"/>
              </a:rPr>
              <a:t>8</a:t>
            </a:fld>
            <a:endParaRPr lang="de-DE">
              <a:latin typeface="Arial" pitchFamily="34" charset="0"/>
            </a:endParaRPr>
          </a:p>
        </p:txBody>
      </p:sp>
    </p:spTree>
    <p:extLst>
      <p:ext uri="{BB962C8B-B14F-4D97-AF65-F5344CB8AC3E}">
        <p14:creationId xmlns:p14="http://schemas.microsoft.com/office/powerpoint/2010/main" val="6106318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en-US">
              <a:solidFill>
                <a:srgbClr val="000000"/>
              </a:solidFill>
              <a:latin typeface="Arial"/>
              <a:ea typeface="ＭＳ Ｐゴシック"/>
              <a:sym typeface="Arial"/>
            </a:endParaRPr>
          </a:p>
        </p:txBody>
      </p:sp>
      <p:sp>
        <p:nvSpPr>
          <p:cNvPr id="4" name="Foliennummernplatzhalter 3"/>
          <p:cNvSpPr>
            <a:spLocks noGrp="1"/>
          </p:cNvSpPr>
          <p:nvPr>
            <p:ph type="sldNum" sz="quarter" idx="10"/>
          </p:nvPr>
        </p:nvSpPr>
        <p:spPr/>
        <p:txBody>
          <a:bodyPr/>
          <a:lstStyle/>
          <a:p>
            <a:r>
              <a:rPr lang="en-US">
                <a:latin typeface="Arial" pitchFamily="34" charset="0"/>
              </a:rPr>
              <a:t>Notes 8</a:t>
            </a:r>
            <a:fld id="{AD141568-5488-4AC9-B82D-9F5CE1225E2A}" type="slidenum">
              <a:rPr lang="en-US" smtClean="0">
                <a:latin typeface="Arial" pitchFamily="34" charset="0"/>
              </a:rPr>
              <a:t>9</a:t>
            </a:fld>
            <a:endParaRPr lang="en-US">
              <a:latin typeface="Arial" pitchFamily="34" charset="0"/>
            </a:endParaRPr>
          </a:p>
        </p:txBody>
      </p:sp>
    </p:spTree>
    <p:extLst>
      <p:ext uri="{BB962C8B-B14F-4D97-AF65-F5344CB8AC3E}">
        <p14:creationId xmlns:p14="http://schemas.microsoft.com/office/powerpoint/2010/main" val="5302286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 Id="rId9"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11.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12.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13.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6.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7.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8.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9.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0.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3.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2.emf"/><Relationship Id="rId9"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1.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6.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7.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8.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29.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30.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2.emf"/><Relationship Id="rId9"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31.bin"/><Relationship Id="rId7"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24.svg"/><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23.png"/><Relationship Id="rId5" Type="http://schemas.openxmlformats.org/officeDocument/2006/relationships/image" Target="../media/image27.jpe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6.png"/><Relationship Id="rId5" Type="http://schemas.openxmlformats.org/officeDocument/2006/relationships/image" Target="../media/image28.jpeg"/><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29.jpe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5.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4.jpeg"/><Relationship Id="rId4" Type="http://schemas.openxmlformats.org/officeDocument/2006/relationships/image" Target="../media/image2.emf"/><Relationship Id="rId9"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6.bin"/><Relationship Id="rId7" Type="http://schemas.openxmlformats.org/officeDocument/2006/relationships/image" Target="../media/image10.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15.jpeg"/><Relationship Id="rId4" Type="http://schemas.openxmlformats.org/officeDocument/2006/relationships/image" Target="../media/image2.emf"/><Relationship Id="rId9" Type="http://schemas.openxmlformats.org/officeDocument/2006/relationships/image" Target="../media/image7.svg"/></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5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2.emf"/><Relationship Id="rId2" Type="http://schemas.openxmlformats.org/officeDocument/2006/relationships/tags" Target="../tags/tag57.xml"/><Relationship Id="rId1" Type="http://schemas.openxmlformats.org/officeDocument/2006/relationships/customXml" Target="../../customXml/item1.xml"/><Relationship Id="rId6" Type="http://schemas.openxmlformats.org/officeDocument/2006/relationships/oleObject" Target="../embeddings/oleObject56.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customXml" Target="../../customXml/item2.x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7.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6.jpeg"/><Relationship Id="rId4" Type="http://schemas.openxmlformats.org/officeDocument/2006/relationships/image" Target="../media/image2.emf"/><Relationship Id="rId9"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8.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9.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0.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A090354-ECE3-497A-9123-0C23A6186015}"/>
              </a:ext>
            </a:extLst>
          </p:cNvPr>
          <p:cNvGraphicFramePr>
            <a:graphicFrameLocks noChangeAspect="1"/>
          </p:cNvGraphicFramePr>
          <p:nvPr userDrawn="1">
            <p:custDataLst>
              <p:tags r:id="rId1"/>
            </p:custDataLst>
            <p:extLst>
              <p:ext uri="{D42A27DB-BD31-4B8C-83A1-F6EECF244321}">
                <p14:modId xmlns:p14="http://schemas.microsoft.com/office/powerpoint/2010/main" val="426635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CA090354-ECE3-497A-9123-0C23A6186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gnisphere" descr="A picture containing fireworks, star, table, sky&#10;&#10;Description automatically generated">
            <a:extLst>
              <a:ext uri="{FF2B5EF4-FFF2-40B4-BE49-F238E27FC236}">
                <a16:creationId xmlns:a16="http://schemas.microsoft.com/office/drawing/2014/main" id="{DF892EFA-26AA-42CB-AADD-84B12356C45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b="700"/>
            </a:stretch>
          </a:blipFill>
        </p:spPr>
        <p:txBody>
          <a:bodyPr vert="horz" rIns="0" bIns="0" anchor="t" anchorCtr="0">
            <a:spAutoFit/>
          </a:bodyPr>
          <a:lstStyle>
            <a:lvl1pPr marL="540000" rtl="0">
              <a:lnSpc>
                <a:spcPct val="100000"/>
              </a:lnSpc>
              <a:defRPr sz="8000">
                <a:solidFill>
                  <a:schemeClr val="tx1"/>
                </a:solidFill>
              </a:defRPr>
            </a:lvl1pPr>
          </a:lstStyle>
          <a:p>
            <a:r>
              <a:rPr lang="en-US" noProof="0" err="1"/>
              <a:t>Titelformat</a:t>
            </a:r>
            <a:r>
              <a:rPr lang="en-US" noProof="0"/>
              <a:t> </a:t>
            </a:r>
            <a:r>
              <a:rPr lang="en-US" noProof="0" err="1"/>
              <a:t>bearbeiten</a:t>
            </a:r>
            <a:r>
              <a:rPr lang="en-US" noProof="0"/>
              <a:t> </a:t>
            </a:r>
            <a:r>
              <a:rPr lang="en-US" noProof="0" err="1"/>
              <a:t>Titel</a:t>
            </a:r>
            <a:r>
              <a:rPr lang="en-US" noProof="0"/>
              <a:t> 8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rtl="0">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noProof="0"/>
              <a:t>Subhead </a:t>
            </a:r>
            <a:r>
              <a:rPr lang="en-US" noProof="0" err="1"/>
              <a:t>für</a:t>
            </a:r>
            <a:r>
              <a:rPr lang="en-US" noProof="0"/>
              <a:t> </a:t>
            </a:r>
            <a:r>
              <a:rPr lang="en-US" noProof="0" err="1"/>
              <a:t>Titelgröße</a:t>
            </a:r>
            <a:r>
              <a:rPr lang="en-US" noProof="0"/>
              <a:t> 80 </a:t>
            </a:r>
            <a:r>
              <a:rPr lang="en-US" noProof="0" err="1"/>
              <a:t>pt</a:t>
            </a:r>
            <a:endParaRPr lang="en-US" noProof="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lvl1pPr rtl="0">
              <a:defRPr/>
            </a:lvl1pPr>
          </a:lstStyle>
          <a:p>
            <a:r>
              <a:rPr lang="en-US"/>
              <a:t>Unrestricted | © Siemens 2023 | MACHINUM</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C88ECD-9E79-4454-8412-FE4F04A47104}"/>
              </a:ext>
            </a:extLst>
          </p:cNvPr>
          <p:cNvGraphicFramePr>
            <a:graphicFrameLocks noChangeAspect="1"/>
          </p:cNvGraphicFramePr>
          <p:nvPr userDrawn="1">
            <p:custDataLst>
              <p:tags r:id="rId1"/>
            </p:custDataLst>
            <p:extLst>
              <p:ext uri="{D42A27DB-BD31-4B8C-83A1-F6EECF244321}">
                <p14:modId xmlns:p14="http://schemas.microsoft.com/office/powerpoint/2010/main" val="1090991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63C88ECD-9E79-4454-8412-FE4F04A471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324000" rtl="0">
              <a:lnSpc>
                <a:spcPct val="100000"/>
              </a:lnSpc>
              <a:defRPr sz="48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8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rtl="0">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noProof="0"/>
              <a:t>Subhead </a:t>
            </a:r>
            <a:r>
              <a:rPr lang="en-US" noProof="0" err="1"/>
              <a:t>für</a:t>
            </a:r>
            <a:r>
              <a:rPr lang="en-US" noProof="0"/>
              <a:t> </a:t>
            </a:r>
            <a:r>
              <a:rPr lang="en-US" noProof="0" err="1"/>
              <a:t>Titelgröße</a:t>
            </a:r>
            <a:r>
              <a:rPr lang="en-US" noProof="0"/>
              <a:t> 48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D4B2B8A-5CC6-4DB2-A474-670082A314C0}"/>
              </a:ext>
            </a:extLst>
          </p:cNvPr>
          <p:cNvGraphicFramePr>
            <a:graphicFrameLocks noChangeAspect="1"/>
          </p:cNvGraphicFramePr>
          <p:nvPr userDrawn="1">
            <p:custDataLst>
              <p:tags r:id="rId1"/>
            </p:custDataLst>
            <p:extLst>
              <p:ext uri="{D42A27DB-BD31-4B8C-83A1-F6EECF244321}">
                <p14:modId xmlns:p14="http://schemas.microsoft.com/office/powerpoint/2010/main" val="281133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2D4B2B8A-5CC6-4DB2-A474-670082A314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rtl="0">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53FB3B7-85C5-46A1-9D0B-FC818C3A8F4E}"/>
              </a:ext>
            </a:extLst>
          </p:cNvPr>
          <p:cNvGraphicFramePr>
            <a:graphicFrameLocks noChangeAspect="1"/>
          </p:cNvGraphicFramePr>
          <p:nvPr userDrawn="1">
            <p:custDataLst>
              <p:tags r:id="rId1"/>
            </p:custDataLst>
            <p:extLst>
              <p:ext uri="{D42A27DB-BD31-4B8C-83A1-F6EECF244321}">
                <p14:modId xmlns:p14="http://schemas.microsoft.com/office/powerpoint/2010/main" val="416048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B53FB3B7-85C5-46A1-9D0B-FC818C3A8F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1000" b="500"/>
            </a:stretch>
          </a:blipFill>
        </p:spPr>
        <p:txBody>
          <a:bodyPr vert="horz" rIns="0" bIns="0" anchor="t">
            <a:spAutoFit/>
          </a:bodyPr>
          <a:lstStyle>
            <a:lvl1pPr marL="252000" rtl="0">
              <a:lnSpc>
                <a:spcPct val="100000"/>
              </a:lnSpc>
              <a:defRPr sz="3600">
                <a:solidFill>
                  <a:schemeClr val="tx1"/>
                </a:solidFill>
              </a:defRPr>
            </a:lvl1pPr>
          </a:lstStyle>
          <a:p>
            <a:r>
              <a:rPr lang="en-US" noProof="0" err="1"/>
              <a:t>Titelformat</a:t>
            </a:r>
            <a:r>
              <a:rPr lang="en-US" noProof="0"/>
              <a:t> </a:t>
            </a:r>
            <a:r>
              <a:rPr lang="en-US" noProof="0" err="1"/>
              <a:t>bearbeiten</a:t>
            </a:r>
            <a:br>
              <a:rPr lang="en-US" noProof="0"/>
            </a:br>
            <a:r>
              <a:rPr lang="en-US" noProof="0"/>
              <a:t>3 </a:t>
            </a:r>
            <a:r>
              <a:rPr lang="en-US" noProof="0" err="1"/>
              <a:t>Zeilen</a:t>
            </a:r>
            <a:br>
              <a:rPr lang="en-US" noProof="0"/>
            </a:br>
            <a:r>
              <a:rPr lang="en-US" noProof="0" err="1"/>
              <a:t>Titel</a:t>
            </a:r>
            <a:r>
              <a:rPr lang="en-US" noProof="0"/>
              <a:t> 36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36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ECB2AC0-55E2-49A8-AE0F-BDFE362D79A4}"/>
              </a:ext>
            </a:extLst>
          </p:cNvPr>
          <p:cNvGraphicFramePr>
            <a:graphicFrameLocks noChangeAspect="1"/>
          </p:cNvGraphicFramePr>
          <p:nvPr userDrawn="1">
            <p:custDataLst>
              <p:tags r:id="rId1"/>
            </p:custDataLst>
            <p:extLst>
              <p:ext uri="{D42A27DB-BD31-4B8C-83A1-F6EECF244321}">
                <p14:modId xmlns:p14="http://schemas.microsoft.com/office/powerpoint/2010/main" val="3816261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FECB2AC0-55E2-49A8-AE0F-BDFE362D7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324000" rtl="0">
              <a:lnSpc>
                <a:spcPct val="100000"/>
              </a:lnSpc>
              <a:defRPr sz="48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8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rtl="0">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noProof="0"/>
              <a:t>Subhead </a:t>
            </a:r>
            <a:r>
              <a:rPr lang="en-US" noProof="0" err="1"/>
              <a:t>für</a:t>
            </a:r>
            <a:r>
              <a:rPr lang="en-US" noProof="0"/>
              <a:t> </a:t>
            </a:r>
            <a:r>
              <a:rPr lang="en-US" noProof="0" err="1"/>
              <a:t>Titelgröße</a:t>
            </a:r>
            <a:r>
              <a:rPr lang="en-US" noProof="0"/>
              <a:t> 48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AC9754-E755-4965-A5D2-5542B8333065}"/>
              </a:ext>
            </a:extLst>
          </p:cNvPr>
          <p:cNvGraphicFramePr>
            <a:graphicFrameLocks noChangeAspect="1"/>
          </p:cNvGraphicFramePr>
          <p:nvPr userDrawn="1">
            <p:custDataLst>
              <p:tags r:id="rId1"/>
            </p:custDataLst>
            <p:extLst>
              <p:ext uri="{D42A27DB-BD31-4B8C-83A1-F6EECF244321}">
                <p14:modId xmlns:p14="http://schemas.microsoft.com/office/powerpoint/2010/main" val="411511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FCAC9754-E755-4965-A5D2-5542B8333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rtl="0">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67AD8DC-FA2E-4D1F-A1ED-7ABD8371E719}"/>
              </a:ext>
            </a:extLst>
          </p:cNvPr>
          <p:cNvGraphicFramePr>
            <a:graphicFrameLocks noChangeAspect="1"/>
          </p:cNvGraphicFramePr>
          <p:nvPr userDrawn="1">
            <p:custDataLst>
              <p:tags r:id="rId1"/>
            </p:custDataLst>
            <p:extLst>
              <p:ext uri="{D42A27DB-BD31-4B8C-83A1-F6EECF244321}">
                <p14:modId xmlns:p14="http://schemas.microsoft.com/office/powerpoint/2010/main" val="2009093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867AD8DC-FA2E-4D1F-A1ED-7ABD8371E7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1000" b="500"/>
            </a:stretch>
          </a:blipFill>
        </p:spPr>
        <p:txBody>
          <a:bodyPr vert="horz" rIns="0" bIns="0" anchor="t">
            <a:spAutoFit/>
          </a:bodyPr>
          <a:lstStyle>
            <a:lvl1pPr marL="252000" rtl="0">
              <a:lnSpc>
                <a:spcPct val="100000"/>
              </a:lnSpc>
              <a:defRPr sz="3600">
                <a:solidFill>
                  <a:schemeClr val="tx1"/>
                </a:solidFill>
              </a:defRPr>
            </a:lvl1pPr>
          </a:lstStyle>
          <a:p>
            <a:r>
              <a:rPr lang="en-US" noProof="0" err="1"/>
              <a:t>Titelformat</a:t>
            </a:r>
            <a:r>
              <a:rPr lang="en-US" noProof="0"/>
              <a:t> </a:t>
            </a:r>
            <a:r>
              <a:rPr lang="en-US" noProof="0" err="1"/>
              <a:t>bearbeiten</a:t>
            </a:r>
            <a:br>
              <a:rPr lang="en-US" noProof="0"/>
            </a:br>
            <a:r>
              <a:rPr lang="en-US" noProof="0"/>
              <a:t>3 </a:t>
            </a:r>
            <a:r>
              <a:rPr lang="en-US" noProof="0" err="1"/>
              <a:t>Zeilen</a:t>
            </a:r>
            <a:br>
              <a:rPr lang="en-US" noProof="0"/>
            </a:br>
            <a:r>
              <a:rPr lang="en-US" noProof="0" err="1"/>
              <a:t>Titel</a:t>
            </a:r>
            <a:r>
              <a:rPr lang="en-US" noProof="0"/>
              <a:t> 36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36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3DB6413-942D-413E-AAF7-5605E018571A}"/>
              </a:ext>
            </a:extLst>
          </p:cNvPr>
          <p:cNvGraphicFramePr>
            <a:graphicFrameLocks noChangeAspect="1"/>
          </p:cNvGraphicFramePr>
          <p:nvPr userDrawn="1">
            <p:custDataLst>
              <p:tags r:id="rId1"/>
            </p:custDataLst>
            <p:extLst>
              <p:ext uri="{D42A27DB-BD31-4B8C-83A1-F6EECF244321}">
                <p14:modId xmlns:p14="http://schemas.microsoft.com/office/powerpoint/2010/main" val="413702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B3DB6413-942D-413E-AAF7-5605E01857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324000" rtl="0">
              <a:lnSpc>
                <a:spcPct val="100000"/>
              </a:lnSpc>
              <a:defRPr sz="48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8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rtl="0">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noProof="0"/>
              <a:t>Subhead </a:t>
            </a:r>
            <a:r>
              <a:rPr lang="en-US" noProof="0" err="1"/>
              <a:t>für</a:t>
            </a:r>
            <a:r>
              <a:rPr lang="en-US" noProof="0"/>
              <a:t> </a:t>
            </a:r>
            <a:r>
              <a:rPr lang="en-US" noProof="0" err="1"/>
              <a:t>Titelgröße</a:t>
            </a:r>
            <a:r>
              <a:rPr lang="en-US" noProof="0"/>
              <a:t> 48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97A3FCE-FF93-4833-A019-183D2B0613B8}"/>
              </a:ext>
            </a:extLst>
          </p:cNvPr>
          <p:cNvGraphicFramePr>
            <a:graphicFrameLocks noChangeAspect="1"/>
          </p:cNvGraphicFramePr>
          <p:nvPr userDrawn="1">
            <p:custDataLst>
              <p:tags r:id="rId1"/>
            </p:custDataLst>
            <p:extLst>
              <p:ext uri="{D42A27DB-BD31-4B8C-83A1-F6EECF244321}">
                <p14:modId xmlns:p14="http://schemas.microsoft.com/office/powerpoint/2010/main" val="1887910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297A3FCE-FF93-4833-A019-183D2B061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rtl="0">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699C769-34E6-47A7-BAC1-A3C478A475DD}"/>
              </a:ext>
            </a:extLst>
          </p:cNvPr>
          <p:cNvGraphicFramePr>
            <a:graphicFrameLocks noChangeAspect="1"/>
          </p:cNvGraphicFramePr>
          <p:nvPr userDrawn="1">
            <p:custDataLst>
              <p:tags r:id="rId1"/>
            </p:custDataLst>
            <p:extLst>
              <p:ext uri="{D42A27DB-BD31-4B8C-83A1-F6EECF244321}">
                <p14:modId xmlns:p14="http://schemas.microsoft.com/office/powerpoint/2010/main" val="305546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3699C769-34E6-47A7-BAC1-A3C478A475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1000" b="500"/>
            </a:stretch>
          </a:blipFill>
        </p:spPr>
        <p:txBody>
          <a:bodyPr vert="horz" rIns="0" bIns="0" anchor="t">
            <a:spAutoFit/>
          </a:bodyPr>
          <a:lstStyle>
            <a:lvl1pPr marL="252000" rtl="0">
              <a:lnSpc>
                <a:spcPct val="100000"/>
              </a:lnSpc>
              <a:defRPr sz="3600">
                <a:solidFill>
                  <a:schemeClr val="tx1"/>
                </a:solidFill>
              </a:defRPr>
            </a:lvl1pPr>
          </a:lstStyle>
          <a:p>
            <a:r>
              <a:rPr lang="en-US" noProof="0" err="1"/>
              <a:t>Titelformat</a:t>
            </a:r>
            <a:r>
              <a:rPr lang="en-US" noProof="0"/>
              <a:t> </a:t>
            </a:r>
            <a:r>
              <a:rPr lang="en-US" noProof="0" err="1"/>
              <a:t>bearbeiten</a:t>
            </a:r>
            <a:br>
              <a:rPr lang="en-US" noProof="0"/>
            </a:br>
            <a:r>
              <a:rPr lang="en-US" noProof="0"/>
              <a:t>3 </a:t>
            </a:r>
            <a:r>
              <a:rPr lang="en-US" noProof="0" err="1"/>
              <a:t>Zeilen</a:t>
            </a:r>
            <a:br>
              <a:rPr lang="en-US" noProof="0"/>
            </a:br>
            <a:r>
              <a:rPr lang="en-US" noProof="0" err="1"/>
              <a:t>Titel</a:t>
            </a:r>
            <a:r>
              <a:rPr lang="en-US" noProof="0"/>
              <a:t> 36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36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01CAABD-BCBC-45B7-AD27-2A709853D4F2}"/>
              </a:ext>
            </a:extLst>
          </p:cNvPr>
          <p:cNvGraphicFramePr>
            <a:graphicFrameLocks noChangeAspect="1"/>
          </p:cNvGraphicFramePr>
          <p:nvPr userDrawn="1">
            <p:custDataLst>
              <p:tags r:id="rId1"/>
            </p:custDataLst>
            <p:extLst>
              <p:ext uri="{D42A27DB-BD31-4B8C-83A1-F6EECF244321}">
                <p14:modId xmlns:p14="http://schemas.microsoft.com/office/powerpoint/2010/main" val="1809806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701CAABD-BCBC-45B7-AD27-2A709853D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rtl="0">
              <a:buNone/>
              <a:defRPr>
                <a:solidFill>
                  <a:schemeClr val="bg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324000" rtl="0">
              <a:lnSpc>
                <a:spcPct val="100000"/>
              </a:lnSpc>
              <a:defRPr sz="48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8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rtl="0">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noProof="0"/>
              <a:t>Subhead </a:t>
            </a:r>
            <a:r>
              <a:rPr lang="en-US" noProof="0" err="1"/>
              <a:t>für</a:t>
            </a:r>
            <a:r>
              <a:rPr lang="en-US" noProof="0"/>
              <a:t> </a:t>
            </a:r>
            <a:r>
              <a:rPr lang="en-US" noProof="0" err="1"/>
              <a:t>Titelgröße</a:t>
            </a:r>
            <a:r>
              <a:rPr lang="en-US" noProof="0"/>
              <a:t> 48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BDC8FD8-3B36-4A8C-9DEF-179B6211C83D}"/>
              </a:ext>
            </a:extLst>
          </p:cNvPr>
          <p:cNvGraphicFramePr>
            <a:graphicFrameLocks noChangeAspect="1"/>
          </p:cNvGraphicFramePr>
          <p:nvPr userDrawn="1">
            <p:custDataLst>
              <p:tags r:id="rId1"/>
            </p:custDataLst>
            <p:extLst>
              <p:ext uri="{D42A27DB-BD31-4B8C-83A1-F6EECF244321}">
                <p14:modId xmlns:p14="http://schemas.microsoft.com/office/powerpoint/2010/main" val="1408775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3BDC8FD8-3B36-4A8C-9DEF-179B6211C8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gnisphere" descr="A close up of a light&#10;&#10;Description automatically generated">
            <a:extLst>
              <a:ext uri="{FF2B5EF4-FFF2-40B4-BE49-F238E27FC236}">
                <a16:creationId xmlns:a16="http://schemas.microsoft.com/office/drawing/2014/main" id="{420B79CB-8D66-48BD-A5D2-A37C0123FE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b="500"/>
            </a:stretch>
          </a:blipFill>
        </p:spPr>
        <p:txBody>
          <a:bodyPr vert="horz" rIns="0" bIns="0" anchor="t" anchorCtr="0">
            <a:spAutoFit/>
          </a:bodyPr>
          <a:lstStyle>
            <a:lvl1pPr marL="414000" rtl="0">
              <a:lnSpc>
                <a:spcPct val="100000"/>
              </a:lnSpc>
              <a:defRPr sz="6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3 </a:t>
            </a:r>
            <a:r>
              <a:rPr lang="en-US" noProof="0" err="1"/>
              <a:t>Zeilen</a:t>
            </a:r>
            <a:br>
              <a:rPr lang="en-US" noProof="0"/>
            </a:br>
            <a:r>
              <a:rPr lang="en-US" noProof="0" err="1"/>
              <a:t>Titel</a:t>
            </a:r>
            <a:r>
              <a:rPr lang="en-US" noProof="0"/>
              <a:t> 6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rtl="0">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Titelgröße</a:t>
            </a:r>
            <a:r>
              <a:rPr lang="en-US" noProof="0"/>
              <a:t> 60 </a:t>
            </a:r>
            <a:r>
              <a:rPr lang="en-US" noProof="0" err="1"/>
              <a:t>pt</a:t>
            </a:r>
            <a:endParaRPr lang="en-US" noProof="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lvl1pPr rtl="0">
              <a:defRPr/>
            </a:lvl1pPr>
          </a:lstStyle>
          <a:p>
            <a:r>
              <a:rPr lang="en-US"/>
              <a:t>Unrestricted | © Siemens 2023 | MACHINUM</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05C4633-9AB3-4DCC-98B0-BD5A64D7FC21}"/>
              </a:ext>
            </a:extLst>
          </p:cNvPr>
          <p:cNvGraphicFramePr>
            <a:graphicFrameLocks noChangeAspect="1"/>
          </p:cNvGraphicFramePr>
          <p:nvPr userDrawn="1">
            <p:custDataLst>
              <p:tags r:id="rId1"/>
            </p:custDataLst>
            <p:extLst>
              <p:ext uri="{D42A27DB-BD31-4B8C-83A1-F6EECF244321}">
                <p14:modId xmlns:p14="http://schemas.microsoft.com/office/powerpoint/2010/main" val="65180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505C4633-9AB3-4DCC-98B0-BD5A64D7FC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rtl="0">
              <a:buNone/>
              <a:defRPr>
                <a:solidFill>
                  <a:schemeClr val="bg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rtl="0">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1F231AF-2074-4DBF-9FF6-5180DED744C2}"/>
              </a:ext>
            </a:extLst>
          </p:cNvPr>
          <p:cNvGraphicFramePr>
            <a:graphicFrameLocks noChangeAspect="1"/>
          </p:cNvGraphicFramePr>
          <p:nvPr userDrawn="1">
            <p:custDataLst>
              <p:tags r:id="rId1"/>
            </p:custDataLst>
            <p:extLst>
              <p:ext uri="{D42A27DB-BD31-4B8C-83A1-F6EECF244321}">
                <p14:modId xmlns:p14="http://schemas.microsoft.com/office/powerpoint/2010/main" val="317693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A1F231AF-2074-4DBF-9FF6-5180DED744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rtl="0">
              <a:buNone/>
              <a:defRPr>
                <a:solidFill>
                  <a:schemeClr val="bg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1000" b="500"/>
            </a:stretch>
          </a:blipFill>
        </p:spPr>
        <p:txBody>
          <a:bodyPr vert="horz" rIns="0" bIns="0" anchor="t">
            <a:spAutoFit/>
          </a:bodyPr>
          <a:lstStyle>
            <a:lvl1pPr marL="252000" rtl="0">
              <a:lnSpc>
                <a:spcPct val="100000"/>
              </a:lnSpc>
              <a:defRPr sz="3600">
                <a:solidFill>
                  <a:schemeClr val="tx1"/>
                </a:solidFill>
              </a:defRPr>
            </a:lvl1pPr>
          </a:lstStyle>
          <a:p>
            <a:r>
              <a:rPr lang="en-US" noProof="0" err="1"/>
              <a:t>Titelformat</a:t>
            </a:r>
            <a:r>
              <a:rPr lang="en-US" noProof="0"/>
              <a:t> </a:t>
            </a:r>
            <a:r>
              <a:rPr lang="en-US" noProof="0" err="1"/>
              <a:t>bearbeiten</a:t>
            </a:r>
            <a:br>
              <a:rPr lang="en-US" noProof="0"/>
            </a:br>
            <a:r>
              <a:rPr lang="en-US" noProof="0"/>
              <a:t>3 </a:t>
            </a:r>
            <a:r>
              <a:rPr lang="en-US" noProof="0" err="1"/>
              <a:t>Zeilen</a:t>
            </a:r>
            <a:br>
              <a:rPr lang="en-US" noProof="0"/>
            </a:br>
            <a:r>
              <a:rPr lang="en-US" noProof="0" err="1"/>
              <a:t>Titel</a:t>
            </a:r>
            <a:r>
              <a:rPr lang="en-US" noProof="0"/>
              <a:t> 36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36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D1E317A-A16F-4070-B6E7-09A6FEEBC904}"/>
              </a:ext>
            </a:extLst>
          </p:cNvPr>
          <p:cNvGraphicFramePr>
            <a:graphicFrameLocks noChangeAspect="1"/>
          </p:cNvGraphicFramePr>
          <p:nvPr userDrawn="1">
            <p:custDataLst>
              <p:tags r:id="rId1"/>
            </p:custDataLst>
            <p:extLst>
              <p:ext uri="{D42A27DB-BD31-4B8C-83A1-F6EECF244321}">
                <p14:modId xmlns:p14="http://schemas.microsoft.com/office/powerpoint/2010/main" val="3867665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0D1E317A-A16F-4070-B6E7-09A6FEEBC9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rtl="0">
              <a:buNone/>
              <a:defRPr>
                <a:solidFill>
                  <a:schemeClr val="bg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324000" rtl="0">
              <a:lnSpc>
                <a:spcPct val="100000"/>
              </a:lnSpc>
              <a:defRPr sz="48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8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rtl="0">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noProof="0"/>
              <a:t>Subhead </a:t>
            </a:r>
            <a:r>
              <a:rPr lang="en-US" noProof="0" err="1"/>
              <a:t>für</a:t>
            </a:r>
            <a:r>
              <a:rPr lang="en-US" noProof="0"/>
              <a:t> </a:t>
            </a:r>
            <a:r>
              <a:rPr lang="en-US" noProof="0" err="1"/>
              <a:t>Titelgröße</a:t>
            </a:r>
            <a:r>
              <a:rPr lang="en-US" noProof="0"/>
              <a:t> 48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204DAC3-2951-42F0-B77A-B61E6311F531}"/>
              </a:ext>
            </a:extLst>
          </p:cNvPr>
          <p:cNvGraphicFramePr>
            <a:graphicFrameLocks noChangeAspect="1"/>
          </p:cNvGraphicFramePr>
          <p:nvPr userDrawn="1">
            <p:custDataLst>
              <p:tags r:id="rId1"/>
            </p:custDataLst>
            <p:extLst>
              <p:ext uri="{D42A27DB-BD31-4B8C-83A1-F6EECF244321}">
                <p14:modId xmlns:p14="http://schemas.microsoft.com/office/powerpoint/2010/main" val="4019825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F204DAC3-2951-42F0-B77A-B61E6311F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rtl="0">
              <a:buNone/>
              <a:defRPr>
                <a:solidFill>
                  <a:schemeClr val="bg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rtl="0">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972FFDE-9BE4-4EBC-8CD4-E2B8C6132450}"/>
              </a:ext>
            </a:extLst>
          </p:cNvPr>
          <p:cNvGraphicFramePr>
            <a:graphicFrameLocks noChangeAspect="1"/>
          </p:cNvGraphicFramePr>
          <p:nvPr userDrawn="1">
            <p:custDataLst>
              <p:tags r:id="rId1"/>
            </p:custDataLst>
            <p:extLst>
              <p:ext uri="{D42A27DB-BD31-4B8C-83A1-F6EECF244321}">
                <p14:modId xmlns:p14="http://schemas.microsoft.com/office/powerpoint/2010/main" val="2553221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1972FFDE-9BE4-4EBC-8CD4-E2B8C6132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rtl="0">
              <a:buNone/>
              <a:defRPr>
                <a:solidFill>
                  <a:schemeClr val="bg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1000" b="500"/>
            </a:stretch>
          </a:blipFill>
        </p:spPr>
        <p:txBody>
          <a:bodyPr vert="horz" rIns="0" bIns="0" anchor="t">
            <a:spAutoFit/>
          </a:bodyPr>
          <a:lstStyle>
            <a:lvl1pPr marL="252000" rtl="0">
              <a:lnSpc>
                <a:spcPct val="100000"/>
              </a:lnSpc>
              <a:defRPr sz="3600">
                <a:solidFill>
                  <a:schemeClr val="tx1"/>
                </a:solidFill>
              </a:defRPr>
            </a:lvl1pPr>
          </a:lstStyle>
          <a:p>
            <a:r>
              <a:rPr lang="en-US" noProof="0" err="1"/>
              <a:t>Titelformat</a:t>
            </a:r>
            <a:r>
              <a:rPr lang="en-US" noProof="0"/>
              <a:t> </a:t>
            </a:r>
            <a:r>
              <a:rPr lang="en-US" noProof="0" err="1"/>
              <a:t>bearbeiten</a:t>
            </a:r>
            <a:br>
              <a:rPr lang="en-US" noProof="0"/>
            </a:br>
            <a:r>
              <a:rPr lang="en-US" noProof="0"/>
              <a:t>3 </a:t>
            </a:r>
            <a:r>
              <a:rPr lang="en-US" noProof="0" err="1"/>
              <a:t>Zeilen</a:t>
            </a:r>
            <a:br>
              <a:rPr lang="en-US" noProof="0"/>
            </a:br>
            <a:r>
              <a:rPr lang="en-US" noProof="0" err="1"/>
              <a:t>Titel</a:t>
            </a:r>
            <a:r>
              <a:rPr lang="en-US" noProof="0"/>
              <a:t> 36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36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760AB50-EA9C-4FA9-A446-EEBB8966A09D}"/>
              </a:ext>
            </a:extLst>
          </p:cNvPr>
          <p:cNvGraphicFramePr>
            <a:graphicFrameLocks noChangeAspect="1"/>
          </p:cNvGraphicFramePr>
          <p:nvPr userDrawn="1">
            <p:custDataLst>
              <p:tags r:id="rId1"/>
            </p:custDataLst>
            <p:extLst>
              <p:ext uri="{D42A27DB-BD31-4B8C-83A1-F6EECF244321}">
                <p14:modId xmlns:p14="http://schemas.microsoft.com/office/powerpoint/2010/main" val="411512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E760AB50-EA9C-4FA9-A446-EEBB8966A0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700"/>
            </a:stretch>
          </a:blipFill>
        </p:spPr>
        <p:txBody>
          <a:bodyPr vert="horz" rIns="0" bIns="0" anchor="t" anchorCtr="0">
            <a:spAutoFit/>
          </a:bodyPr>
          <a:lstStyle>
            <a:lvl1pPr marL="540000" rtl="0">
              <a:lnSpc>
                <a:spcPct val="100000"/>
              </a:lnSpc>
              <a:defRPr sz="8000">
                <a:solidFill>
                  <a:schemeClr val="tx1"/>
                </a:solidFill>
              </a:defRPr>
            </a:lvl1pPr>
          </a:lstStyle>
          <a:p>
            <a:r>
              <a:rPr lang="en-US" noProof="0" err="1"/>
              <a:t>Titelformat</a:t>
            </a:r>
            <a:r>
              <a:rPr lang="en-US" noProof="0"/>
              <a:t> </a:t>
            </a:r>
            <a:r>
              <a:rPr lang="en-US" noProof="0" err="1"/>
              <a:t>bearbeiten</a:t>
            </a:r>
            <a:r>
              <a:rPr lang="en-US" noProof="0"/>
              <a:t> </a:t>
            </a:r>
            <a:r>
              <a:rPr lang="en-US" noProof="0" err="1"/>
              <a:t>Kapiteltrenner</a:t>
            </a:r>
            <a:r>
              <a:rPr lang="en-US" noProof="0"/>
              <a:t> 8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rtl="0">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noProof="0"/>
              <a:t>Subhead </a:t>
            </a:r>
            <a:r>
              <a:rPr lang="en-US" noProof="0" err="1"/>
              <a:t>für</a:t>
            </a:r>
            <a:r>
              <a:rPr lang="en-US" noProof="0"/>
              <a:t> </a:t>
            </a:r>
            <a:r>
              <a:rPr lang="en-US" noProof="0" err="1"/>
              <a:t>Kapiteltrennergröße</a:t>
            </a:r>
            <a:r>
              <a:rPr lang="en-US" noProof="0"/>
              <a:t> 80 </a:t>
            </a:r>
            <a:r>
              <a:rPr lang="en-US" noProof="0" err="1"/>
              <a:t>pt</a:t>
            </a:r>
            <a:endParaRPr lang="en-US" noProof="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4EA927A-360E-48F3-B912-D8DCF42AAD51}"/>
              </a:ext>
            </a:extLst>
          </p:cNvPr>
          <p:cNvGraphicFramePr>
            <a:graphicFrameLocks noChangeAspect="1"/>
          </p:cNvGraphicFramePr>
          <p:nvPr userDrawn="1">
            <p:custDataLst>
              <p:tags r:id="rId1"/>
            </p:custDataLst>
            <p:extLst>
              <p:ext uri="{D42A27DB-BD31-4B8C-83A1-F6EECF244321}">
                <p14:modId xmlns:p14="http://schemas.microsoft.com/office/powerpoint/2010/main" val="109545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04EA927A-360E-48F3-B912-D8DCF42AAD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500"/>
            </a:stretch>
          </a:blipFill>
        </p:spPr>
        <p:txBody>
          <a:bodyPr vert="horz" rIns="0" bIns="0" anchor="t" anchorCtr="0">
            <a:spAutoFit/>
          </a:bodyPr>
          <a:lstStyle>
            <a:lvl1pPr marL="414000" rtl="0">
              <a:lnSpc>
                <a:spcPct val="100000"/>
              </a:lnSpc>
              <a:defRPr sz="6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3 </a:t>
            </a:r>
            <a:r>
              <a:rPr lang="en-US" noProof="0" err="1"/>
              <a:t>Zeilen</a:t>
            </a:r>
            <a:br>
              <a:rPr lang="en-US" noProof="0"/>
            </a:br>
            <a:r>
              <a:rPr lang="en-US" noProof="0" err="1"/>
              <a:t>Kapiteltrenner</a:t>
            </a:r>
            <a:r>
              <a:rPr lang="en-US" noProof="0"/>
              <a:t> 6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rtl="0">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Kapiteltrennergröße</a:t>
            </a:r>
            <a:r>
              <a:rPr lang="en-US" noProof="0"/>
              <a:t> 60 </a:t>
            </a:r>
            <a:r>
              <a:rPr lang="en-US" noProof="0" err="1"/>
              <a:t>pt</a:t>
            </a:r>
            <a:endParaRPr lang="en-US" noProof="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6B90DBD-7AA3-45AC-A732-B1C66EA7D1AA}"/>
              </a:ext>
            </a:extLst>
          </p:cNvPr>
          <p:cNvGraphicFramePr>
            <a:graphicFrameLocks noChangeAspect="1"/>
          </p:cNvGraphicFramePr>
          <p:nvPr userDrawn="1">
            <p:custDataLst>
              <p:tags r:id="rId1"/>
            </p:custDataLst>
            <p:extLst>
              <p:ext uri="{D42A27DB-BD31-4B8C-83A1-F6EECF244321}">
                <p14:modId xmlns:p14="http://schemas.microsoft.com/office/powerpoint/2010/main" val="1293198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76B90DBD-7AA3-45AC-A732-B1C66EA7D1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500"/>
            </a:stretch>
          </a:blipFill>
        </p:spPr>
        <p:txBody>
          <a:bodyPr vert="horz" wrap="square" rIns="0" bIns="0" anchor="t" anchorCtr="0">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4 </a:t>
            </a:r>
            <a:r>
              <a:rPr lang="en-US" noProof="0" err="1"/>
              <a:t>Zeilen</a:t>
            </a:r>
            <a:br>
              <a:rPr lang="en-US" noProof="0"/>
            </a:br>
            <a:r>
              <a:rPr lang="en-US" noProof="0" err="1"/>
              <a:t>Kapiteltrenner</a:t>
            </a:r>
            <a:r>
              <a:rPr lang="en-US" noProof="0"/>
              <a:t> 40 </a:t>
            </a:r>
            <a:r>
              <a:rPr lang="en-US" noProof="0" err="1"/>
              <a:t>pt</a:t>
            </a:r>
            <a:br>
              <a:rPr lang="en-US" noProof="0"/>
            </a:br>
            <a:r>
              <a:rPr lang="en-US" noProof="0"/>
              <a:t>Extra </a:t>
            </a:r>
            <a:r>
              <a:rPr lang="en-US" noProof="0" err="1"/>
              <a:t>lange</a:t>
            </a:r>
            <a:r>
              <a:rPr lang="en-US" noProof="0"/>
              <a:t> </a:t>
            </a:r>
            <a:r>
              <a:rPr lang="en-US" noProof="0" err="1"/>
              <a:t>Überschriften</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rtl="0">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Kapiteltrennergröße</a:t>
            </a:r>
            <a:r>
              <a:rPr lang="en-US" noProof="0"/>
              <a:t> 40 </a:t>
            </a:r>
            <a:r>
              <a:rPr lang="en-US" noProof="0" err="1"/>
              <a:t>pt</a:t>
            </a:r>
            <a:endParaRPr lang="en-US" noProof="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6524FD-A30D-4904-9AD0-7DFDB54B553C}"/>
              </a:ext>
            </a:extLst>
          </p:cNvPr>
          <p:cNvGraphicFramePr>
            <a:graphicFrameLocks noChangeAspect="1"/>
          </p:cNvGraphicFramePr>
          <p:nvPr userDrawn="1">
            <p:custDataLst>
              <p:tags r:id="rId1"/>
            </p:custDataLst>
            <p:extLst>
              <p:ext uri="{D42A27DB-BD31-4B8C-83A1-F6EECF244321}">
                <p14:modId xmlns:p14="http://schemas.microsoft.com/office/powerpoint/2010/main" val="220433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8" name="Objekt 7" hidden="1">
                        <a:extLst>
                          <a:ext uri="{FF2B5EF4-FFF2-40B4-BE49-F238E27FC236}">
                            <a16:creationId xmlns:a16="http://schemas.microsoft.com/office/drawing/2014/main" id="{DE6524FD-A30D-4904-9AD0-7DFDB54B55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700"/>
            </a:stretch>
          </a:blipFill>
        </p:spPr>
        <p:txBody>
          <a:bodyPr vert="horz" rIns="0" bIns="0" anchor="t" anchorCtr="0">
            <a:spAutoFit/>
          </a:bodyPr>
          <a:lstStyle>
            <a:lvl1pPr marL="540000" rtl="0">
              <a:lnSpc>
                <a:spcPct val="100000"/>
              </a:lnSpc>
              <a:defRPr sz="8000">
                <a:solidFill>
                  <a:schemeClr val="tx1"/>
                </a:solidFill>
              </a:defRPr>
            </a:lvl1pPr>
          </a:lstStyle>
          <a:p>
            <a:r>
              <a:rPr lang="en-US" noProof="0" err="1"/>
              <a:t>Titelformat</a:t>
            </a:r>
            <a:r>
              <a:rPr lang="en-US" noProof="0"/>
              <a:t> </a:t>
            </a:r>
            <a:r>
              <a:rPr lang="en-US" noProof="0" err="1"/>
              <a:t>bearbeiten</a:t>
            </a:r>
            <a:r>
              <a:rPr lang="en-US" noProof="0"/>
              <a:t> </a:t>
            </a:r>
            <a:r>
              <a:rPr lang="en-US" noProof="0" err="1"/>
              <a:t>Kapiteltrenner</a:t>
            </a:r>
            <a:r>
              <a:rPr lang="en-US" noProof="0"/>
              <a:t> 8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rtl="0">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noProof="0"/>
              <a:t>Subhead </a:t>
            </a:r>
            <a:r>
              <a:rPr lang="en-US" noProof="0" err="1"/>
              <a:t>für</a:t>
            </a:r>
            <a:r>
              <a:rPr lang="en-US" noProof="0"/>
              <a:t> </a:t>
            </a:r>
            <a:r>
              <a:rPr lang="en-US" noProof="0" err="1"/>
              <a:t>Kapiteltrennergröße</a:t>
            </a:r>
            <a:r>
              <a:rPr lang="en-US" noProof="0"/>
              <a:t> 80 </a:t>
            </a:r>
            <a:r>
              <a:rPr lang="en-US" noProof="0" err="1"/>
              <a:t>pt</a:t>
            </a:r>
            <a:endParaRPr lang="en-US" noProof="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40E8747-2DA6-41FD-AF83-E6BC4430AFD5}"/>
              </a:ext>
            </a:extLst>
          </p:cNvPr>
          <p:cNvGraphicFramePr>
            <a:graphicFrameLocks noChangeAspect="1"/>
          </p:cNvGraphicFramePr>
          <p:nvPr userDrawn="1">
            <p:custDataLst>
              <p:tags r:id="rId1"/>
            </p:custDataLst>
            <p:extLst>
              <p:ext uri="{D42A27DB-BD31-4B8C-83A1-F6EECF244321}">
                <p14:modId xmlns:p14="http://schemas.microsoft.com/office/powerpoint/2010/main" val="284866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8" name="Objekt 7" hidden="1">
                        <a:extLst>
                          <a:ext uri="{FF2B5EF4-FFF2-40B4-BE49-F238E27FC236}">
                            <a16:creationId xmlns:a16="http://schemas.microsoft.com/office/drawing/2014/main" id="{340E8747-2DA6-41FD-AF83-E6BC4430AF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500"/>
            </a:stretch>
          </a:blipFill>
        </p:spPr>
        <p:txBody>
          <a:bodyPr vert="horz" rIns="0" bIns="0" anchor="t" anchorCtr="0">
            <a:spAutoFit/>
          </a:bodyPr>
          <a:lstStyle>
            <a:lvl1pPr marL="414000" rtl="0">
              <a:lnSpc>
                <a:spcPct val="100000"/>
              </a:lnSpc>
              <a:defRPr sz="6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3 </a:t>
            </a:r>
            <a:r>
              <a:rPr lang="en-US" noProof="0" err="1"/>
              <a:t>Zeilen</a:t>
            </a:r>
            <a:br>
              <a:rPr lang="en-US" noProof="0"/>
            </a:br>
            <a:r>
              <a:rPr lang="en-US" noProof="0" err="1"/>
              <a:t>Kapiteltrenner</a:t>
            </a:r>
            <a:r>
              <a:rPr lang="en-US" noProof="0"/>
              <a:t> 6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rtl="0">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Kapiteltrennergröße</a:t>
            </a:r>
            <a:r>
              <a:rPr lang="en-US" noProof="0"/>
              <a:t> 60 </a:t>
            </a:r>
            <a:r>
              <a:rPr lang="en-US" noProof="0" err="1"/>
              <a:t>pt</a:t>
            </a:r>
            <a:endParaRPr lang="en-US" noProof="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D3BA4CB-B8E4-460B-A976-8AF7EC57E982}"/>
              </a:ext>
            </a:extLst>
          </p:cNvPr>
          <p:cNvGraphicFramePr>
            <a:graphicFrameLocks noChangeAspect="1"/>
          </p:cNvGraphicFramePr>
          <p:nvPr userDrawn="1">
            <p:custDataLst>
              <p:tags r:id="rId1"/>
            </p:custDataLst>
            <p:extLst>
              <p:ext uri="{D42A27DB-BD31-4B8C-83A1-F6EECF244321}">
                <p14:modId xmlns:p14="http://schemas.microsoft.com/office/powerpoint/2010/main" val="2880618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1D3BA4CB-B8E4-460B-A976-8AF7EC57E9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gnisphere" descr="A picture containing light, star&#10;&#10;Description automatically generated">
            <a:extLst>
              <a:ext uri="{FF2B5EF4-FFF2-40B4-BE49-F238E27FC236}">
                <a16:creationId xmlns:a16="http://schemas.microsoft.com/office/drawing/2014/main" id="{6ADAD97F-C8DC-4E41-BE8D-71AC2140F04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b="500"/>
            </a:stretch>
          </a:blipFill>
        </p:spPr>
        <p:txBody>
          <a:bodyPr vert="horz" wrap="square" rIns="0" bIns="0" anchor="t" anchorCtr="0">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4 </a:t>
            </a:r>
            <a:r>
              <a:rPr lang="en-US" noProof="0" err="1"/>
              <a:t>Zeilen</a:t>
            </a:r>
            <a:br>
              <a:rPr lang="en-US" noProof="0"/>
            </a:br>
            <a:r>
              <a:rPr lang="en-US" noProof="0" err="1"/>
              <a:t>Titel</a:t>
            </a:r>
            <a:r>
              <a:rPr lang="en-US" noProof="0"/>
              <a:t> 40 </a:t>
            </a:r>
            <a:r>
              <a:rPr lang="en-US" noProof="0" err="1"/>
              <a:t>pt</a:t>
            </a:r>
            <a:br>
              <a:rPr lang="en-US" noProof="0"/>
            </a:br>
            <a:r>
              <a:rPr lang="en-US" noProof="0"/>
              <a:t>Extra </a:t>
            </a:r>
            <a:r>
              <a:rPr lang="en-US" noProof="0" err="1"/>
              <a:t>lange</a:t>
            </a:r>
            <a:r>
              <a:rPr lang="en-US" noProof="0"/>
              <a:t> </a:t>
            </a:r>
            <a:r>
              <a:rPr lang="en-US" noProof="0" err="1"/>
              <a:t>Überschriften</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rtl="0">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lvl1pPr rtl="0">
              <a:defRPr/>
            </a:lvl1pPr>
          </a:lstStyle>
          <a:p>
            <a:r>
              <a:rPr lang="en-US"/>
              <a:t>Unrestricted | © Siemens 2023 | MACHINUM</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3BC2B50-828C-4D01-BACE-A25611877023}"/>
              </a:ext>
            </a:extLst>
          </p:cNvPr>
          <p:cNvGraphicFramePr>
            <a:graphicFrameLocks noChangeAspect="1"/>
          </p:cNvGraphicFramePr>
          <p:nvPr userDrawn="1">
            <p:custDataLst>
              <p:tags r:id="rId1"/>
            </p:custDataLst>
            <p:extLst>
              <p:ext uri="{D42A27DB-BD31-4B8C-83A1-F6EECF244321}">
                <p14:modId xmlns:p14="http://schemas.microsoft.com/office/powerpoint/2010/main" val="3665914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8" name="Objekt 7" hidden="1">
                        <a:extLst>
                          <a:ext uri="{FF2B5EF4-FFF2-40B4-BE49-F238E27FC236}">
                            <a16:creationId xmlns:a16="http://schemas.microsoft.com/office/drawing/2014/main" id="{53BC2B50-828C-4D01-BACE-A256118770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500"/>
            </a:stretch>
          </a:blipFill>
        </p:spPr>
        <p:txBody>
          <a:bodyPr vert="horz" wrap="square" rIns="0" bIns="0" anchor="t" anchorCtr="0">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4 </a:t>
            </a:r>
            <a:r>
              <a:rPr lang="en-US" noProof="0" err="1"/>
              <a:t>Zeilen</a:t>
            </a:r>
            <a:br>
              <a:rPr lang="en-US" noProof="0"/>
            </a:br>
            <a:r>
              <a:rPr lang="en-US" noProof="0" err="1"/>
              <a:t>Kapiteltrenner</a:t>
            </a:r>
            <a:r>
              <a:rPr lang="en-US" noProof="0"/>
              <a:t> 40 </a:t>
            </a:r>
            <a:r>
              <a:rPr lang="en-US" noProof="0" err="1"/>
              <a:t>pt</a:t>
            </a:r>
            <a:br>
              <a:rPr lang="en-US" noProof="0"/>
            </a:br>
            <a:r>
              <a:rPr lang="en-US" noProof="0"/>
              <a:t>Extra </a:t>
            </a:r>
            <a:r>
              <a:rPr lang="en-US" noProof="0" err="1"/>
              <a:t>lange</a:t>
            </a:r>
            <a:r>
              <a:rPr lang="en-US" noProof="0"/>
              <a:t> </a:t>
            </a:r>
            <a:r>
              <a:rPr lang="en-US" noProof="0" err="1"/>
              <a:t>Überschriften</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rtl="0">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Kapiteltrennergröße</a:t>
            </a:r>
            <a:r>
              <a:rPr lang="en-US" noProof="0"/>
              <a:t> 40 </a:t>
            </a:r>
            <a:r>
              <a:rPr lang="en-US" noProof="0" err="1"/>
              <a:t>pt</a:t>
            </a:r>
            <a:endParaRPr lang="en-US" noProof="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FA33AC5-E173-4FA4-96DF-204E65CA8DBC}"/>
              </a:ext>
            </a:extLst>
          </p:cNvPr>
          <p:cNvGraphicFramePr>
            <a:graphicFrameLocks noChangeAspect="1"/>
          </p:cNvGraphicFramePr>
          <p:nvPr userDrawn="1">
            <p:custDataLst>
              <p:tags r:id="rId1"/>
            </p:custDataLst>
            <p:extLst>
              <p:ext uri="{D42A27DB-BD31-4B8C-83A1-F6EECF244321}">
                <p14:modId xmlns:p14="http://schemas.microsoft.com/office/powerpoint/2010/main" val="27831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EFA33AC5-E173-4FA4-96DF-204E65CA8D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Cognisphere" descr="A picture containing chart&#10;&#10;Description automatically generated">
            <a:extLst>
              <a:ext uri="{FF2B5EF4-FFF2-40B4-BE49-F238E27FC236}">
                <a16:creationId xmlns:a16="http://schemas.microsoft.com/office/drawing/2014/main" id="{D43FFEAA-E7FF-47DB-9F0A-3997BEA2F2A1}"/>
              </a:ext>
            </a:extLst>
          </p:cNvPr>
          <p:cNvPicPr>
            <a:picLocks noChangeAspect="1"/>
          </p:cNvPicPr>
          <p:nvPr userDrawn="1"/>
        </p:nvPicPr>
        <p:blipFill rotWithShape="1">
          <a:blip r:embed="rId5" cstate="email">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a:xfrm>
            <a:off x="410400" y="478800"/>
            <a:ext cx="5904675" cy="576000"/>
          </a:xfrm>
        </p:spPr>
        <p:txBody>
          <a:bodyPr vert="horz"/>
          <a:lstStyle>
            <a:lvl1pPr rtl="0">
              <a:defRPr/>
            </a:lvl1pPr>
          </a:lstStyle>
          <a:p>
            <a:r>
              <a:rPr lang="en-US" noProof="0" err="1"/>
              <a:t>Inhaltsverzeichnis</a:t>
            </a:r>
            <a:endParaRPr lang="en-US" noProof="0"/>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hasCustomPrompt="1"/>
          </p:nvPr>
        </p:nvSpPr>
        <p:spPr>
          <a:xfrm>
            <a:off x="411163" y="1414463"/>
            <a:ext cx="5903912" cy="4751387"/>
          </a:xfrm>
        </p:spPr>
        <p:txBody>
          <a:bodyPr/>
          <a:lstStyle>
            <a:lvl1pPr rtl="0">
              <a:spcAft>
                <a:spcPts val="900"/>
              </a:spcAft>
              <a:tabLst>
                <a:tab pos="5902325" algn="r"/>
              </a:tabLst>
              <a:defRPr/>
            </a:lvl1pPr>
            <a:lvl2pPr rtl="0">
              <a:spcAft>
                <a:spcPts val="900"/>
              </a:spcAft>
              <a:tabLst>
                <a:tab pos="5902325" algn="r"/>
              </a:tabLst>
              <a:defRPr/>
            </a:lvl2pPr>
            <a:lvl3pPr marL="180000" rtl="0">
              <a:spcAft>
                <a:spcPts val="900"/>
              </a:spcAft>
              <a:tabLst>
                <a:tab pos="5902325" algn="r"/>
              </a:tabLst>
              <a:defRPr b="1"/>
            </a:lvl3pPr>
            <a:lvl4pPr marL="360000" rtl="0">
              <a:spcAft>
                <a:spcPts val="900"/>
              </a:spcAft>
              <a:tabLst>
                <a:tab pos="5902325" algn="r"/>
              </a:tabLst>
              <a:defRPr/>
            </a:lvl4pPr>
            <a:lvl5pPr marL="360000" rtl="0">
              <a:spcAft>
                <a:spcPts val="900"/>
              </a:spcAft>
              <a:tabLst>
                <a:tab pos="5902325" algn="r"/>
              </a:tabLst>
              <a:defRPr b="1"/>
            </a:lvl5pPr>
            <a:lvl6pPr marL="180000" rtl="0">
              <a:spcAft>
                <a:spcPts val="600"/>
              </a:spcAft>
              <a:tabLst>
                <a:tab pos="5902325" algn="r"/>
              </a:tabLst>
              <a:defRPr sz="1600"/>
            </a:lvl6pPr>
            <a:lvl7pPr marL="180000" rtl="0">
              <a:spcAft>
                <a:spcPts val="600"/>
              </a:spcAft>
              <a:tabLst>
                <a:tab pos="5902325" algn="r"/>
              </a:tabLst>
              <a:defRPr sz="1600" b="1"/>
            </a:lvl7pPr>
            <a:lvl8pPr marL="360000" rtl="0">
              <a:spcAft>
                <a:spcPts val="600"/>
              </a:spcAft>
              <a:tabLst>
                <a:tab pos="5902325" algn="r"/>
              </a:tabLst>
              <a:defRPr sz="1600"/>
            </a:lvl8pPr>
            <a:lvl9pPr marL="360000" rtl="0">
              <a:spcAft>
                <a:spcPts val="600"/>
              </a:spcAft>
              <a:tabLst>
                <a:tab pos="5902325" algn="r"/>
              </a:tabLst>
              <a:defRPr sz="1600" b="1"/>
            </a:lvl9pPr>
          </a:lstStyle>
          <a:p>
            <a:pPr lvl="0"/>
            <a:r>
              <a:rPr lang="en-US" noProof="0" err="1"/>
              <a:t>Inhaltsverzeichnis</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lvl1pPr rtl="0">
              <a:defRPr/>
            </a:lvl1pPr>
          </a:lstStyle>
          <a:p>
            <a:r>
              <a:rPr lang="en-US"/>
              <a:t>Unrestricted | © Siemens 2023 | MACHINUM</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DA876B-8B08-4F1C-838A-878EB85D440E}"/>
              </a:ext>
            </a:extLst>
          </p:cNvPr>
          <p:cNvGraphicFramePr>
            <a:graphicFrameLocks noChangeAspect="1"/>
          </p:cNvGraphicFramePr>
          <p:nvPr userDrawn="1">
            <p:custDataLst>
              <p:tags r:id="rId1"/>
            </p:custDataLst>
            <p:extLst>
              <p:ext uri="{D42A27DB-BD31-4B8C-83A1-F6EECF244321}">
                <p14:modId xmlns:p14="http://schemas.microsoft.com/office/powerpoint/2010/main" val="103304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E5DA876B-8B08-4F1C-838A-878EB85D44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vert="horz"/>
          <a:lstStyle>
            <a:lvl1pPr rtl="0">
              <a:defRPr>
                <a:solidFill>
                  <a:schemeClr val="tx1"/>
                </a:solidFill>
              </a:defRPr>
            </a:lvl1pPr>
          </a:lstStyle>
          <a:p>
            <a:r>
              <a:rPr lang="en-US" noProof="0" err="1"/>
              <a:t>Inhaltsverzeichnis</a:t>
            </a:r>
            <a:endParaRPr lang="en-US" noProof="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7009B3-8286-44CA-89DA-999FEACE4A50}"/>
              </a:ext>
            </a:extLst>
          </p:cNvPr>
          <p:cNvGraphicFramePr>
            <a:graphicFrameLocks noChangeAspect="1"/>
          </p:cNvGraphicFramePr>
          <p:nvPr userDrawn="1">
            <p:custDataLst>
              <p:tags r:id="rId1"/>
            </p:custDataLst>
            <p:extLst>
              <p:ext uri="{D42A27DB-BD31-4B8C-83A1-F6EECF244321}">
                <p14:modId xmlns:p14="http://schemas.microsoft.com/office/powerpoint/2010/main" val="102800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37009B3-8286-44CA-89DA-999FEACE4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lvl1pPr rtl="0">
              <a:defRPr/>
            </a:lvl1pPr>
          </a:lstStyle>
          <a:p>
            <a:r>
              <a:rPr lang="en-US"/>
              <a:t>Unrestricted | © Siemens 2023 | MACHINUM</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CA81661-88F8-4B0E-9D1F-7B033FF82E2F}"/>
              </a:ext>
            </a:extLst>
          </p:cNvPr>
          <p:cNvGraphicFramePr>
            <a:graphicFrameLocks noChangeAspect="1"/>
          </p:cNvGraphicFramePr>
          <p:nvPr userDrawn="1">
            <p:custDataLst>
              <p:tags r:id="rId1"/>
            </p:custDataLst>
            <p:extLst>
              <p:ext uri="{D42A27DB-BD31-4B8C-83A1-F6EECF244321}">
                <p14:modId xmlns:p14="http://schemas.microsoft.com/office/powerpoint/2010/main" val="977596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ECA81661-88F8-4B0E-9D1F-7B033FF82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lvl1pPr rtl="0">
              <a:defRPr/>
            </a:lvl1pPr>
          </a:lstStyle>
          <a:p>
            <a:r>
              <a:rPr lang="en-US"/>
              <a:t>Unrestricted | © Siemens 2023 | MACHINUM</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2A33F3E-5A9D-4445-A1C1-FEEE3D0A05B4}"/>
              </a:ext>
            </a:extLst>
          </p:cNvPr>
          <p:cNvGraphicFramePr>
            <a:graphicFrameLocks noChangeAspect="1"/>
          </p:cNvGraphicFramePr>
          <p:nvPr userDrawn="1">
            <p:custDataLst>
              <p:tags r:id="rId1"/>
            </p:custDataLst>
            <p:extLst>
              <p:ext uri="{D42A27DB-BD31-4B8C-83A1-F6EECF244321}">
                <p14:modId xmlns:p14="http://schemas.microsoft.com/office/powerpoint/2010/main" val="765985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62A33F3E-5A9D-4445-A1C1-FEEE3D0A05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rtl="0">
              <a:buNone/>
              <a:defRPr>
                <a:solidFill>
                  <a:schemeClr val="bg1"/>
                </a:solidFill>
              </a:defRPr>
            </a:lvl1pPr>
          </a:lstStyle>
          <a:p>
            <a:r>
              <a:rPr lang="en-US" noProof="0" err="1"/>
              <a:t>Ganzseitiges</a:t>
            </a:r>
            <a:r>
              <a:rPr lang="en-US" noProof="0"/>
              <a:t> Bild</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77328"/>
          </a:xfrm>
          <a:noFill/>
        </p:spPr>
        <p:txBody>
          <a:bodyPr vert="horz" wrap="square" rIns="0" bIns="0" anchor="t">
            <a:spAutoFit/>
          </a:bodyPr>
          <a:lstStyle>
            <a:lvl1pPr marL="0" rtl="0">
              <a:lnSpc>
                <a:spcPct val="100000"/>
              </a:lnSpc>
              <a:defRPr sz="4800">
                <a:solidFill>
                  <a:schemeClr val="tx1"/>
                </a:solidFill>
              </a:defRPr>
            </a:lvl1pPr>
          </a:lstStyle>
          <a:p>
            <a:r>
              <a:rPr lang="en-US" noProof="0" err="1"/>
              <a:t>Titelformat</a:t>
            </a:r>
            <a:r>
              <a:rPr lang="en-US" noProof="0"/>
              <a:t> </a:t>
            </a:r>
            <a:br>
              <a:rPr lang="en-US" noProof="0"/>
            </a:br>
            <a:r>
              <a:rPr lang="en-US" noProof="0" err="1"/>
              <a:t>bearbeiten</a:t>
            </a:r>
            <a:endParaRPr lang="en-US" noProof="0"/>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lvl1pPr rtl="0">
              <a:defRPr/>
            </a:lvl1pPr>
          </a:lstStyle>
          <a:p>
            <a:r>
              <a:rPr lang="en-US"/>
              <a:t>Unrestricted | © Siemens 2023 | MACHINUM</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444401F-8926-482F-8833-9995385402BB}"/>
              </a:ext>
            </a:extLst>
          </p:cNvPr>
          <p:cNvGraphicFramePr>
            <a:graphicFrameLocks noChangeAspect="1"/>
          </p:cNvGraphicFramePr>
          <p:nvPr userDrawn="1">
            <p:custDataLst>
              <p:tags r:id="rId1"/>
            </p:custDataLst>
            <p:extLst>
              <p:ext uri="{D42A27DB-BD31-4B8C-83A1-F6EECF244321}">
                <p14:modId xmlns:p14="http://schemas.microsoft.com/office/powerpoint/2010/main" val="793033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4444401F-8926-482F-8833-9995385402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p:nvPr>
        </p:nvSpPr>
        <p:spPr>
          <a:xfrm>
            <a:off x="0" y="1"/>
            <a:ext cx="7611160" cy="6167438"/>
          </a:xfrm>
          <a:solidFill>
            <a:schemeClr val="accent1"/>
          </a:solidFill>
        </p:spPr>
        <p:txBody>
          <a:bodyPr lIns="144000" tIns="108000" rIns="144000" bIns="108000"/>
          <a:lstStyle>
            <a:lvl1pPr marL="0" indent="0" rtl="0">
              <a:buNone/>
              <a:defRPr>
                <a:solidFill>
                  <a:schemeClr val="bg1"/>
                </a:solidFill>
              </a:defRPr>
            </a:lvl1pPr>
          </a:lstStyle>
          <a:p>
            <a:r>
              <a:rPr lang="en-US" noProof="0"/>
              <a:t>Bild </a:t>
            </a:r>
            <a:r>
              <a:rPr lang="en-US" noProof="0" err="1"/>
              <a:t>durch</a:t>
            </a:r>
            <a:r>
              <a:rPr lang="en-US" noProof="0"/>
              <a:t> </a:t>
            </a:r>
            <a:r>
              <a:rPr lang="en-US" noProof="0" err="1"/>
              <a:t>Klicken</a:t>
            </a:r>
            <a:r>
              <a:rPr lang="en-US" noProof="0"/>
              <a:t> auf Symbol </a:t>
            </a:r>
            <a:r>
              <a:rPr lang="en-US" noProof="0" err="1"/>
              <a:t>hinzufügen</a:t>
            </a:r>
            <a:endParaRPr lang="en-US" noProof="0"/>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vert="horz" wrap="square" rIns="0" bIns="0" anchor="t">
            <a:spAutoFit/>
          </a:bodyPr>
          <a:lstStyle>
            <a:lvl1pPr marL="0" rtl="0">
              <a:lnSpc>
                <a:spcPct val="100000"/>
              </a:lnSpc>
              <a:defRPr sz="4800">
                <a:solidFill>
                  <a:schemeClr val="tx1"/>
                </a:solidFill>
              </a:defRPr>
            </a:lvl1pPr>
          </a:lstStyle>
          <a:p>
            <a:r>
              <a:rPr lang="en-US" noProof="0" err="1"/>
              <a:t>Titelformat</a:t>
            </a:r>
            <a:r>
              <a:rPr lang="en-US" noProof="0"/>
              <a:t> </a:t>
            </a:r>
            <a:r>
              <a:rPr lang="en-US" noProof="0" err="1"/>
              <a:t>bearbeiten</a:t>
            </a:r>
            <a:br>
              <a:rPr lang="en-US" noProof="0"/>
            </a:br>
            <a:r>
              <a:rPr lang="en-US" noProof="0"/>
              <a:t>3 </a:t>
            </a:r>
            <a:r>
              <a:rPr lang="en-US" noProof="0" err="1"/>
              <a:t>Zeilen</a:t>
            </a:r>
            <a:endParaRPr lang="en-US" noProof="0"/>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hasCustomPrompt="1"/>
          </p:nvPr>
        </p:nvSpPr>
        <p:spPr>
          <a:xfrm>
            <a:off x="8042400" y="1054100"/>
            <a:ext cx="3744000" cy="5113338"/>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lvl1pPr rtl="0">
              <a:defRPr/>
            </a:lvl1pPr>
          </a:lstStyle>
          <a:p>
            <a:r>
              <a:rPr lang="en-US"/>
              <a:t>Unrestricted | © Siemens 2023 | MACHINUM</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68B5289-10A9-4271-9D9F-0478896608F1}"/>
              </a:ext>
            </a:extLst>
          </p:cNvPr>
          <p:cNvGraphicFramePr>
            <a:graphicFrameLocks noChangeAspect="1"/>
          </p:cNvGraphicFramePr>
          <p:nvPr userDrawn="1">
            <p:custDataLst>
              <p:tags r:id="rId1"/>
            </p:custDataLst>
            <p:extLst>
              <p:ext uri="{D42A27DB-BD31-4B8C-83A1-F6EECF244321}">
                <p14:modId xmlns:p14="http://schemas.microsoft.com/office/powerpoint/2010/main" val="257394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D68B5289-10A9-4271-9D9F-0478896608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gnisphere" descr="A picture containing fish, monitor, keyboard, computer&#10;&#10;Description automatically generated">
            <a:extLst>
              <a:ext uri="{FF2B5EF4-FFF2-40B4-BE49-F238E27FC236}">
                <a16:creationId xmlns:a16="http://schemas.microsoft.com/office/drawing/2014/main" id="{3F881CD6-C462-4F22-A33A-D863714CB95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vert="horz"/>
          <a:lstStyle>
            <a:lvl1pPr rtl="0">
              <a:defRPr>
                <a:solidFill>
                  <a:schemeClr val="tx1"/>
                </a:solidFill>
              </a:defRPr>
            </a:lvl1pPr>
          </a:lstStyle>
          <a:p>
            <a:r>
              <a:rPr lang="en-US" noProof="0" err="1"/>
              <a:t>Titelformat</a:t>
            </a:r>
            <a:r>
              <a:rPr lang="en-US" noProof="0"/>
              <a:t> </a:t>
            </a:r>
            <a:r>
              <a:rPr lang="en-US" noProof="0" err="1"/>
              <a:t>bearbeiten</a:t>
            </a:r>
            <a:endParaRPr lang="en-US" noProof="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D548453-0DF9-441E-8F27-17FC54C9B56B}"/>
              </a:ext>
            </a:extLst>
          </p:cNvPr>
          <p:cNvGraphicFramePr>
            <a:graphicFrameLocks noChangeAspect="1"/>
          </p:cNvGraphicFramePr>
          <p:nvPr userDrawn="1">
            <p:custDataLst>
              <p:tags r:id="rId1"/>
            </p:custDataLst>
            <p:extLst>
              <p:ext uri="{D42A27DB-BD31-4B8C-83A1-F6EECF244321}">
                <p14:modId xmlns:p14="http://schemas.microsoft.com/office/powerpoint/2010/main" val="3579544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8D548453-0DF9-441E-8F27-17FC54C9B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vert="horz"/>
          <a:lstStyle>
            <a:lvl1pPr rtl="0">
              <a:defRPr>
                <a:solidFill>
                  <a:schemeClr val="tx1"/>
                </a:solidFill>
              </a:defRPr>
            </a:lvl1pPr>
          </a:lstStyle>
          <a:p>
            <a:r>
              <a:rPr lang="en-US" noProof="0" err="1"/>
              <a:t>Titelformat</a:t>
            </a:r>
            <a:r>
              <a:rPr lang="en-US" noProof="0"/>
              <a:t> </a:t>
            </a:r>
            <a:r>
              <a:rPr lang="en-US" noProof="0" err="1"/>
              <a:t>bearbeiten</a:t>
            </a:r>
            <a:endParaRPr lang="en-US" noProof="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9375506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B618E0D-E671-42B0-B15E-A26794D562FE}"/>
              </a:ext>
            </a:extLst>
          </p:cNvPr>
          <p:cNvGraphicFramePr>
            <a:graphicFrameLocks noChangeAspect="1"/>
          </p:cNvGraphicFramePr>
          <p:nvPr userDrawn="1">
            <p:custDataLst>
              <p:tags r:id="rId1"/>
            </p:custDataLst>
            <p:extLst>
              <p:ext uri="{D42A27DB-BD31-4B8C-83A1-F6EECF244321}">
                <p14:modId xmlns:p14="http://schemas.microsoft.com/office/powerpoint/2010/main" val="389758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0B618E0D-E671-42B0-B15E-A26794D562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gnisphere" descr="A picture containing sky, water, star&#10;&#10;Description automatically generated">
            <a:extLst>
              <a:ext uri="{FF2B5EF4-FFF2-40B4-BE49-F238E27FC236}">
                <a16:creationId xmlns:a16="http://schemas.microsoft.com/office/drawing/2014/main" id="{023B7438-1A5A-45DD-BC01-0328F6E18DC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vert="horz"/>
          <a:lstStyle>
            <a:lvl1pPr rtl="0">
              <a:defRPr>
                <a:solidFill>
                  <a:schemeClr val="tx1"/>
                </a:solidFill>
              </a:defRPr>
            </a:lvl1pPr>
          </a:lstStyle>
          <a:p>
            <a:r>
              <a:rPr lang="en-US" noProof="0" err="1"/>
              <a:t>Titelformat</a:t>
            </a:r>
            <a:r>
              <a:rPr lang="en-US" noProof="0"/>
              <a:t> </a:t>
            </a:r>
            <a:r>
              <a:rPr lang="en-US" noProof="0" err="1"/>
              <a:t>bearbeiten</a:t>
            </a:r>
            <a:endParaRPr lang="en-US" noProof="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92DA6A5-EC82-4446-AB64-3A1CF9B61E6F}"/>
              </a:ext>
            </a:extLst>
          </p:cNvPr>
          <p:cNvGraphicFramePr>
            <a:graphicFrameLocks noChangeAspect="1"/>
          </p:cNvGraphicFramePr>
          <p:nvPr userDrawn="1">
            <p:custDataLst>
              <p:tags r:id="rId1"/>
            </p:custDataLst>
            <p:extLst>
              <p:ext uri="{D42A27DB-BD31-4B8C-83A1-F6EECF244321}">
                <p14:modId xmlns:p14="http://schemas.microsoft.com/office/powerpoint/2010/main" val="1392101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792DA6A5-EC82-4446-AB64-3A1CF9B61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gnisphere" descr="Background pattern&#10;&#10;Description automatically generated">
            <a:extLst>
              <a:ext uri="{FF2B5EF4-FFF2-40B4-BE49-F238E27FC236}">
                <a16:creationId xmlns:a16="http://schemas.microsoft.com/office/drawing/2014/main" id="{A6B84324-1EA7-4CFC-90A8-828085020A8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b="700"/>
            </a:stretch>
          </a:blipFill>
        </p:spPr>
        <p:txBody>
          <a:bodyPr vert="horz" rIns="0" bIns="0" anchor="t" anchorCtr="0">
            <a:spAutoFit/>
          </a:bodyPr>
          <a:lstStyle>
            <a:lvl1pPr marL="540000" rtl="0">
              <a:lnSpc>
                <a:spcPct val="100000"/>
              </a:lnSpc>
              <a:defRPr sz="8000">
                <a:solidFill>
                  <a:schemeClr val="tx1"/>
                </a:solidFill>
              </a:defRPr>
            </a:lvl1pPr>
          </a:lstStyle>
          <a:p>
            <a:r>
              <a:rPr lang="en-US" noProof="0" err="1"/>
              <a:t>Titelformat</a:t>
            </a:r>
            <a:r>
              <a:rPr lang="en-US" noProof="0"/>
              <a:t> </a:t>
            </a:r>
            <a:r>
              <a:rPr lang="en-US" noProof="0" err="1"/>
              <a:t>bearbeiten</a:t>
            </a:r>
            <a:r>
              <a:rPr lang="en-US" noProof="0"/>
              <a:t> </a:t>
            </a:r>
            <a:r>
              <a:rPr lang="en-US" noProof="0" err="1"/>
              <a:t>Titel</a:t>
            </a:r>
            <a:r>
              <a:rPr lang="en-US" noProof="0"/>
              <a:t> 8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rtl="0">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Titelgröße</a:t>
            </a:r>
            <a:r>
              <a:rPr lang="en-US" noProof="0"/>
              <a:t> 80 </a:t>
            </a:r>
            <a:r>
              <a:rPr lang="en-US" noProof="0" err="1"/>
              <a:t>pt</a:t>
            </a:r>
            <a:endParaRPr lang="en-US" noProof="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lvl1pPr rtl="0">
              <a:defRPr/>
            </a:lvl1pPr>
          </a:lstStyle>
          <a:p>
            <a:r>
              <a:rPr lang="en-US"/>
              <a:t>Unrestricted | © Siemens 2023 | MACHINUM</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8D890DD-40B7-4147-8601-9BB1605CE5BB}"/>
              </a:ext>
            </a:extLst>
          </p:cNvPr>
          <p:cNvGraphicFramePr>
            <a:graphicFrameLocks noChangeAspect="1"/>
          </p:cNvGraphicFramePr>
          <p:nvPr userDrawn="1">
            <p:custDataLst>
              <p:tags r:id="rId1"/>
            </p:custDataLst>
            <p:extLst>
              <p:ext uri="{D42A27DB-BD31-4B8C-83A1-F6EECF244321}">
                <p14:modId xmlns:p14="http://schemas.microsoft.com/office/powerpoint/2010/main" val="150195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D8D890DD-40B7-4147-8601-9BB1605CE5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hasCustomPrompt="1"/>
          </p:nvPr>
        </p:nvSpPr>
        <p:spPr/>
        <p:txBody>
          <a:bodyPr vert="horz"/>
          <a:lstStyle>
            <a:lvl1pPr rtl="0">
              <a:defRPr>
                <a:solidFill>
                  <a:schemeClr val="tx1"/>
                </a:solidFill>
              </a:defRPr>
            </a:lvl1pPr>
          </a:lstStyle>
          <a:p>
            <a:r>
              <a:rPr lang="en-US" noProof="0" err="1"/>
              <a:t>Titelformat</a:t>
            </a:r>
            <a:r>
              <a:rPr lang="en-US" noProof="0"/>
              <a:t> </a:t>
            </a:r>
            <a:r>
              <a:rPr lang="en-US" noProof="0" err="1"/>
              <a:t>bearbeiten</a:t>
            </a:r>
            <a:endParaRPr lang="en-US" noProof="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5148758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74BA235-9B05-4FAC-A439-5D6B1F4AC5A5}"/>
              </a:ext>
            </a:extLst>
          </p:cNvPr>
          <p:cNvGraphicFramePr>
            <a:graphicFrameLocks noChangeAspect="1"/>
          </p:cNvGraphicFramePr>
          <p:nvPr userDrawn="1">
            <p:custDataLst>
              <p:tags r:id="rId1"/>
            </p:custDataLst>
            <p:extLst>
              <p:ext uri="{D42A27DB-BD31-4B8C-83A1-F6EECF244321}">
                <p14:modId xmlns:p14="http://schemas.microsoft.com/office/powerpoint/2010/main" val="142080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274BA235-9B05-4FAC-A439-5D6B1F4AC5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9C4633C1-8D3E-45A5-A522-817574663A85}"/>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3" name="Copy">
            <a:extLst>
              <a:ext uri="{FF2B5EF4-FFF2-40B4-BE49-F238E27FC236}">
                <a16:creationId xmlns:a16="http://schemas.microsoft.com/office/drawing/2014/main" id="{9CE7E2D8-94E8-4FE6-93A5-924CA3EC5315}"/>
              </a:ext>
            </a:extLst>
          </p:cNvPr>
          <p:cNvSpPr>
            <a:spLocks noGrp="1"/>
          </p:cNvSpPr>
          <p:nvPr>
            <p:ph idx="1" hasCustomPrompt="1"/>
          </p:nvPr>
        </p:nvSpPr>
        <p:spPr>
          <a:xfrm>
            <a:off x="411162" y="1414800"/>
            <a:ext cx="7199313"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E54FBDD-74AC-4F41-9BF7-D6BC1D229BFB}"/>
              </a:ext>
            </a:extLst>
          </p:cNvPr>
          <p:cNvGraphicFramePr>
            <a:graphicFrameLocks noChangeAspect="1"/>
          </p:cNvGraphicFramePr>
          <p:nvPr userDrawn="1">
            <p:custDataLst>
              <p:tags r:id="rId1"/>
            </p:custDataLst>
            <p:extLst>
              <p:ext uri="{D42A27DB-BD31-4B8C-83A1-F6EECF244321}">
                <p14:modId xmlns:p14="http://schemas.microsoft.com/office/powerpoint/2010/main" val="338722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7E54FBDD-74AC-4F41-9BF7-D6BC1D229B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9C4633C1-8D3E-45A5-A522-817574663A85}"/>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3" name="Copy">
            <a:extLst>
              <a:ext uri="{FF2B5EF4-FFF2-40B4-BE49-F238E27FC236}">
                <a16:creationId xmlns:a16="http://schemas.microsoft.com/office/drawing/2014/main" id="{9CE7E2D8-94E8-4FE6-93A5-924CA3EC5315}"/>
              </a:ext>
            </a:extLst>
          </p:cNvPr>
          <p:cNvSpPr>
            <a:spLocks noGrp="1"/>
          </p:cNvSpPr>
          <p:nvPr>
            <p:ph idx="1" hasCustomPrompt="1"/>
          </p:nvPr>
        </p:nvSpPr>
        <p:spPr>
          <a:xfrm>
            <a:off x="411162" y="1414800"/>
            <a:ext cx="11376026"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lvl1pPr rtl="0">
              <a:defRPr/>
            </a:lvl1pPr>
          </a:lstStyle>
          <a:p>
            <a:r>
              <a:rPr lang="en-US"/>
              <a:t>Unrestricted | © Siemens 2023 | MACHINUM</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0C5E556-7A7A-4427-91BF-15F619BB47DC}"/>
              </a:ext>
            </a:extLst>
          </p:cNvPr>
          <p:cNvGraphicFramePr>
            <a:graphicFrameLocks noChangeAspect="1"/>
          </p:cNvGraphicFramePr>
          <p:nvPr userDrawn="1">
            <p:custDataLst>
              <p:tags r:id="rId1"/>
            </p:custDataLst>
            <p:extLst>
              <p:ext uri="{D42A27DB-BD31-4B8C-83A1-F6EECF244321}">
                <p14:modId xmlns:p14="http://schemas.microsoft.com/office/powerpoint/2010/main" val="2092310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10C5E556-7A7A-4427-91BF-15F619BB47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3" name="Copy 1">
            <a:extLst>
              <a:ext uri="{FF2B5EF4-FFF2-40B4-BE49-F238E27FC236}">
                <a16:creationId xmlns:a16="http://schemas.microsoft.com/office/drawing/2014/main" id="{A8B1D58A-DC84-4573-957E-9BEA9AAB308E}"/>
              </a:ext>
            </a:extLst>
          </p:cNvPr>
          <p:cNvSpPr>
            <a:spLocks noGrp="1"/>
          </p:cNvSpPr>
          <p:nvPr>
            <p:ph sz="half" idx="1" hasCustomPrompt="1"/>
          </p:nvPr>
        </p:nvSpPr>
        <p:spPr>
          <a:xfrm>
            <a:off x="411162" y="1414800"/>
            <a:ext cx="5470526"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hasCustomPrompt="1"/>
          </p:nvPr>
        </p:nvSpPr>
        <p:spPr>
          <a:xfrm>
            <a:off x="6315075" y="1414800"/>
            <a:ext cx="5465763"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lvl1pPr rtl="0">
              <a:defRPr/>
            </a:lvl1pPr>
          </a:lstStyle>
          <a:p>
            <a:r>
              <a:rPr lang="en-US"/>
              <a:t>Unrestricted | © Siemens 2023 | MACHINUM</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EE65A9C-51A4-45CD-B0F7-825725839E78}"/>
              </a:ext>
            </a:extLst>
          </p:cNvPr>
          <p:cNvGraphicFramePr>
            <a:graphicFrameLocks noChangeAspect="1"/>
          </p:cNvGraphicFramePr>
          <p:nvPr userDrawn="1">
            <p:custDataLst>
              <p:tags r:id="rId1"/>
            </p:custDataLst>
            <p:extLst>
              <p:ext uri="{D42A27DB-BD31-4B8C-83A1-F6EECF244321}">
                <p14:modId xmlns:p14="http://schemas.microsoft.com/office/powerpoint/2010/main" val="1081700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8EE65A9C-51A4-45CD-B0F7-825725839E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3" name="Copy 1">
            <a:extLst>
              <a:ext uri="{FF2B5EF4-FFF2-40B4-BE49-F238E27FC236}">
                <a16:creationId xmlns:a16="http://schemas.microsoft.com/office/drawing/2014/main" id="{A8B1D58A-DC84-4573-957E-9BEA9AAB308E}"/>
              </a:ext>
            </a:extLst>
          </p:cNvPr>
          <p:cNvSpPr>
            <a:spLocks noGrp="1"/>
          </p:cNvSpPr>
          <p:nvPr>
            <p:ph sz="half" idx="1" hasCustomPrompt="1"/>
          </p:nvPr>
        </p:nvSpPr>
        <p:spPr>
          <a:xfrm>
            <a:off x="411162" y="1414800"/>
            <a:ext cx="3600000"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hasCustomPrompt="1"/>
          </p:nvPr>
        </p:nvSpPr>
        <p:spPr>
          <a:xfrm>
            <a:off x="4298400" y="1414800"/>
            <a:ext cx="3600000"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hasCustomPrompt="1"/>
          </p:nvPr>
        </p:nvSpPr>
        <p:spPr>
          <a:xfrm>
            <a:off x="8186400" y="1414800"/>
            <a:ext cx="3600000"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lvl1pPr rtl="0">
              <a:defRPr/>
            </a:lvl1pPr>
          </a:lstStyle>
          <a:p>
            <a:r>
              <a:rPr lang="en-US"/>
              <a:t>Unrestricted | © Siemens 2023 | MACHINUM</a:t>
            </a:r>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B840DD1-05BC-4547-BC7D-CD3C848AE4D5}"/>
              </a:ext>
            </a:extLst>
          </p:cNvPr>
          <p:cNvGraphicFramePr>
            <a:graphicFrameLocks noChangeAspect="1"/>
          </p:cNvGraphicFramePr>
          <p:nvPr userDrawn="1">
            <p:custDataLst>
              <p:tags r:id="rId1"/>
            </p:custDataLst>
            <p:extLst>
              <p:ext uri="{D42A27DB-BD31-4B8C-83A1-F6EECF244321}">
                <p14:modId xmlns:p14="http://schemas.microsoft.com/office/powerpoint/2010/main" val="1406880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8B840DD1-05BC-4547-BC7D-CD3C848AE4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3" name="Copy 1">
            <a:extLst>
              <a:ext uri="{FF2B5EF4-FFF2-40B4-BE49-F238E27FC236}">
                <a16:creationId xmlns:a16="http://schemas.microsoft.com/office/drawing/2014/main" id="{A8B1D58A-DC84-4573-957E-9BEA9AAB308E}"/>
              </a:ext>
            </a:extLst>
          </p:cNvPr>
          <p:cNvSpPr>
            <a:spLocks noGrp="1"/>
          </p:cNvSpPr>
          <p:nvPr>
            <p:ph sz="half" idx="1" hasCustomPrompt="1"/>
          </p:nvPr>
        </p:nvSpPr>
        <p:spPr>
          <a:xfrm>
            <a:off x="411162" y="1414800"/>
            <a:ext cx="5470526"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rtl="0">
              <a:defRPr sz="1600"/>
            </a:lvl6pPr>
            <a:lvl7pPr rtl="0">
              <a:defRPr sz="1600"/>
            </a:lvl7pPr>
            <a:lvl8pPr rtl="0">
              <a:defRPr sz="1600"/>
            </a:lvl8pPr>
            <a:lvl9pPr rtl="0">
              <a:defRPr sz="1600"/>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hasCustomPrompt="1"/>
          </p:nvPr>
        </p:nvSpPr>
        <p:spPr>
          <a:xfrm>
            <a:off x="411162" y="3718800"/>
            <a:ext cx="5470526"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rtl="0">
              <a:defRPr sz="1600"/>
            </a:lvl6pPr>
            <a:lvl7pPr rtl="0">
              <a:defRPr sz="1600"/>
            </a:lvl7pPr>
            <a:lvl8pPr rtl="0">
              <a:defRPr sz="1600"/>
            </a:lvl8pPr>
            <a:lvl9pPr rtl="0">
              <a:defRPr sz="1600"/>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hasCustomPrompt="1"/>
          </p:nvPr>
        </p:nvSpPr>
        <p:spPr>
          <a:xfrm>
            <a:off x="6315075" y="1414800"/>
            <a:ext cx="5465763"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rtl="0">
              <a:defRPr sz="1600"/>
            </a:lvl6pPr>
            <a:lvl7pPr rtl="0">
              <a:defRPr sz="1600"/>
            </a:lvl7pPr>
            <a:lvl8pPr rtl="0">
              <a:defRPr sz="1600"/>
            </a:lvl8pPr>
            <a:lvl9pPr rtl="0">
              <a:defRPr sz="1600"/>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hasCustomPrompt="1"/>
          </p:nvPr>
        </p:nvSpPr>
        <p:spPr>
          <a:xfrm>
            <a:off x="6315075" y="3718800"/>
            <a:ext cx="5465763"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rtl="0">
              <a:defRPr sz="1600"/>
            </a:lvl6pPr>
            <a:lvl7pPr rtl="0">
              <a:defRPr sz="1600"/>
            </a:lvl7pPr>
            <a:lvl8pPr rtl="0">
              <a:defRPr sz="1600"/>
            </a:lvl8pPr>
            <a:lvl9pPr rtl="0">
              <a:defRPr sz="1600"/>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lvl1pPr rtl="0">
              <a:defRPr/>
            </a:lvl1pPr>
          </a:lstStyle>
          <a:p>
            <a:r>
              <a:rPr lang="en-US"/>
              <a:t>Unrestricted | © Siemens 2023 | MACHINUM</a:t>
            </a:r>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3300642-F822-41C1-A38D-36945145299C}"/>
              </a:ext>
            </a:extLst>
          </p:cNvPr>
          <p:cNvGraphicFramePr>
            <a:graphicFrameLocks noChangeAspect="1"/>
          </p:cNvGraphicFramePr>
          <p:nvPr userDrawn="1">
            <p:custDataLst>
              <p:tags r:id="rId1"/>
            </p:custDataLst>
            <p:extLst>
              <p:ext uri="{D42A27DB-BD31-4B8C-83A1-F6EECF244321}">
                <p14:modId xmlns:p14="http://schemas.microsoft.com/office/powerpoint/2010/main" val="77956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8" name="Objekt 7" hidden="1">
                        <a:extLst>
                          <a:ext uri="{FF2B5EF4-FFF2-40B4-BE49-F238E27FC236}">
                            <a16:creationId xmlns:a16="http://schemas.microsoft.com/office/drawing/2014/main" id="{C3300642-F822-41C1-A38D-3694514529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E568133C-15D2-4F33-802E-DF15E7891829}"/>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lvl1pPr rtl="0">
              <a:defRPr/>
            </a:lvl1pPr>
          </a:lstStyle>
          <a:p>
            <a:r>
              <a:rPr lang="en-US" noProof="0"/>
              <a:t>Bild </a:t>
            </a:r>
            <a:r>
              <a:rPr lang="en-US" noProof="0" err="1"/>
              <a:t>durch</a:t>
            </a:r>
            <a:r>
              <a:rPr lang="en-US" noProof="0"/>
              <a:t> </a:t>
            </a:r>
            <a:r>
              <a:rPr lang="en-US" noProof="0" err="1"/>
              <a:t>Klicken</a:t>
            </a:r>
            <a:r>
              <a:rPr lang="en-US" noProof="0"/>
              <a:t> auf Symbol </a:t>
            </a:r>
            <a:r>
              <a:rPr lang="en-US" noProof="0" err="1"/>
              <a:t>hinzufügen</a:t>
            </a:r>
            <a:endParaRPr lang="en-US" noProof="0"/>
          </a:p>
        </p:txBody>
      </p:sp>
      <p:sp>
        <p:nvSpPr>
          <p:cNvPr id="4" name="Copy">
            <a:extLst>
              <a:ext uri="{FF2B5EF4-FFF2-40B4-BE49-F238E27FC236}">
                <a16:creationId xmlns:a16="http://schemas.microsoft.com/office/drawing/2014/main" id="{BF3FF41E-3844-4153-B955-A1F3E9EC1D30}"/>
              </a:ext>
            </a:extLst>
          </p:cNvPr>
          <p:cNvSpPr>
            <a:spLocks noGrp="1"/>
          </p:cNvSpPr>
          <p:nvPr>
            <p:ph sz="half" idx="2" hasCustomPrompt="1"/>
          </p:nvPr>
        </p:nvSpPr>
        <p:spPr>
          <a:xfrm>
            <a:off x="8043189" y="1414800"/>
            <a:ext cx="3744000"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lvl1pPr rtl="0">
              <a:defRPr/>
            </a:lvl1pPr>
          </a:lstStyle>
          <a:p>
            <a:r>
              <a:rPr lang="en-US"/>
              <a:t>Unrestricted | © Siemens 2023 | MACHINUM</a:t>
            </a:r>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8669BEC-E5C8-4EE9-AB13-4AD896340973}"/>
              </a:ext>
            </a:extLst>
          </p:cNvPr>
          <p:cNvGraphicFramePr>
            <a:graphicFrameLocks noChangeAspect="1"/>
          </p:cNvGraphicFramePr>
          <p:nvPr userDrawn="1">
            <p:custDataLst>
              <p:tags r:id="rId1"/>
            </p:custDataLst>
            <p:extLst>
              <p:ext uri="{D42A27DB-BD31-4B8C-83A1-F6EECF244321}">
                <p14:modId xmlns:p14="http://schemas.microsoft.com/office/powerpoint/2010/main" val="258911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E8669BEC-E5C8-4EE9-AB13-4AD8963409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10C7B869-3095-4D4F-B832-8B6077991AA5}"/>
              </a:ext>
            </a:extLst>
          </p:cNvPr>
          <p:cNvSpPr>
            <a:spLocks noGrp="1"/>
          </p:cNvSpPr>
          <p:nvPr>
            <p:ph type="title" hasCustomPrompt="1"/>
          </p:nvPr>
        </p:nvSpPr>
        <p:spPr/>
        <p:txBody>
          <a:bodyPr vert="horz"/>
          <a:lstStyle>
            <a:lvl1pPr rtl="0">
              <a:defRPr/>
            </a:lvl1pPr>
          </a:lstStyle>
          <a:p>
            <a:r>
              <a:rPr lang="en-US" noProof="0" err="1"/>
              <a:t>Titelformat</a:t>
            </a:r>
            <a:r>
              <a:rPr lang="en-US" noProof="0"/>
              <a:t> </a:t>
            </a:r>
            <a:r>
              <a:rPr lang="en-US" noProof="0" err="1"/>
              <a:t>bearbeiten</a:t>
            </a:r>
            <a:endParaRPr lang="en-US" noProof="0"/>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lvl1pPr rtl="0">
              <a:defRPr/>
            </a:lvl1pPr>
          </a:lstStyle>
          <a:p>
            <a:r>
              <a:rPr lang="en-US" noProof="0"/>
              <a:t>Bild </a:t>
            </a:r>
            <a:r>
              <a:rPr lang="en-US" noProof="0" err="1"/>
              <a:t>durch</a:t>
            </a:r>
            <a:r>
              <a:rPr lang="en-US" noProof="0"/>
              <a:t> </a:t>
            </a:r>
            <a:r>
              <a:rPr lang="en-US" noProof="0" err="1"/>
              <a:t>Klicken</a:t>
            </a:r>
            <a:r>
              <a:rPr lang="en-US" noProof="0"/>
              <a:t> auf Symbol </a:t>
            </a:r>
            <a:r>
              <a:rPr lang="en-US" noProof="0" err="1"/>
              <a:t>hinzufügen</a:t>
            </a:r>
            <a:endParaRPr lang="en-US" noProof="0"/>
          </a:p>
        </p:txBody>
      </p:sp>
      <p:sp>
        <p:nvSpPr>
          <p:cNvPr id="4" name="Copy">
            <a:extLst>
              <a:ext uri="{FF2B5EF4-FFF2-40B4-BE49-F238E27FC236}">
                <a16:creationId xmlns:a16="http://schemas.microsoft.com/office/drawing/2014/main" id="{BF3FF41E-3844-4153-B955-A1F3E9EC1D30}"/>
              </a:ext>
            </a:extLst>
          </p:cNvPr>
          <p:cNvSpPr>
            <a:spLocks noGrp="1"/>
          </p:cNvSpPr>
          <p:nvPr>
            <p:ph sz="half" idx="2" hasCustomPrompt="1"/>
          </p:nvPr>
        </p:nvSpPr>
        <p:spPr>
          <a:xfrm>
            <a:off x="8043189" y="1414800"/>
            <a:ext cx="3744000" cy="4752000"/>
          </a:xfrm>
          <a:prstGeom prst="rect">
            <a:avLst/>
          </a:prstGeom>
        </p:spPr>
        <p:txBody>
          <a:bodyPr>
            <a:noAutofit/>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lvl1pPr rtl="0">
              <a:defRPr/>
            </a:lvl1pPr>
          </a:lstStyle>
          <a:p>
            <a:r>
              <a:rPr lang="en-US"/>
              <a:t>Unrestricted | © Siemens 2023 | MACHINUM</a:t>
            </a:r>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lvl1pPr rtl="0">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56A0C4A-0B74-472E-82BC-BC42D3DC43AB}"/>
              </a:ext>
            </a:extLst>
          </p:cNvPr>
          <p:cNvGraphicFramePr>
            <a:graphicFrameLocks noChangeAspect="1"/>
          </p:cNvGraphicFramePr>
          <p:nvPr userDrawn="1">
            <p:custDataLst>
              <p:tags r:id="rId1"/>
            </p:custDataLst>
            <p:extLst>
              <p:ext uri="{D42A27DB-BD31-4B8C-83A1-F6EECF244321}">
                <p14:modId xmlns:p14="http://schemas.microsoft.com/office/powerpoint/2010/main" val="177218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D56A0C4A-0B74-472E-82BC-BC42D3DC43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9C4633C1-8D3E-45A5-A522-817574663A85}"/>
              </a:ext>
            </a:extLst>
          </p:cNvPr>
          <p:cNvSpPr>
            <a:spLocks noGrp="1"/>
          </p:cNvSpPr>
          <p:nvPr>
            <p:ph type="title" hasCustomPrompt="1"/>
          </p:nvPr>
        </p:nvSpPr>
        <p:spPr/>
        <p:txBody>
          <a:bodyPr vert="horz"/>
          <a:lstStyle>
            <a:lvl1pPr rtl="0">
              <a:defRPr>
                <a:solidFill>
                  <a:schemeClr val="accent1"/>
                </a:solidFill>
              </a:defRPr>
            </a:lvl1pPr>
          </a:lstStyle>
          <a:p>
            <a:r>
              <a:rPr lang="en-US" noProof="0" err="1"/>
              <a:t>Titelformat</a:t>
            </a:r>
            <a:r>
              <a:rPr lang="en-US" noProof="0"/>
              <a:t> </a:t>
            </a:r>
            <a:r>
              <a:rPr lang="en-US" noProof="0" err="1"/>
              <a:t>bearbeiten</a:t>
            </a:r>
            <a:endParaRPr lang="en-US" noProof="0"/>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lvl1pPr rtl="0">
              <a:defRPr/>
            </a:lvl1pPr>
          </a:lstStyle>
          <a:p>
            <a:r>
              <a:rPr lang="en-US" noProof="0" err="1"/>
              <a:t>Tabelle</a:t>
            </a:r>
            <a:r>
              <a:rPr lang="en-US" noProof="0"/>
              <a:t> </a:t>
            </a:r>
            <a:r>
              <a:rPr lang="en-US" noProof="0" err="1"/>
              <a:t>durch</a:t>
            </a:r>
            <a:r>
              <a:rPr lang="en-US" noProof="0"/>
              <a:t> </a:t>
            </a:r>
            <a:r>
              <a:rPr lang="en-US" noProof="0" err="1"/>
              <a:t>Klicken</a:t>
            </a:r>
            <a:r>
              <a:rPr lang="en-US" noProof="0"/>
              <a:t> auf Symbol </a:t>
            </a:r>
            <a:r>
              <a:rPr lang="en-US" noProof="0" err="1"/>
              <a:t>hinzufügen</a:t>
            </a:r>
            <a:endParaRPr lang="en-US" noProof="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lvl1pPr rtl="0">
              <a:defRPr/>
            </a:lvl1pPr>
          </a:lstStyle>
          <a:p>
            <a:r>
              <a:rPr lang="en-US"/>
              <a:t>Unrestricted | © Siemens 2023 | MACHINUM</a:t>
            </a:r>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68CC9AF-F8C0-4B6B-BA01-DDA0E9239946}"/>
              </a:ext>
            </a:extLst>
          </p:cNvPr>
          <p:cNvGraphicFramePr>
            <a:graphicFrameLocks noChangeAspect="1"/>
          </p:cNvGraphicFramePr>
          <p:nvPr userDrawn="1">
            <p:custDataLst>
              <p:tags r:id="rId1"/>
            </p:custDataLst>
            <p:extLst>
              <p:ext uri="{D42A27DB-BD31-4B8C-83A1-F6EECF244321}">
                <p14:modId xmlns:p14="http://schemas.microsoft.com/office/powerpoint/2010/main" val="2850519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A68CC9AF-F8C0-4B6B-BA01-DDA0E92399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9F2A455C-53B1-4792-8EA9-F00926C48E39}"/>
              </a:ext>
            </a:extLst>
          </p:cNvPr>
          <p:cNvSpPr>
            <a:spLocks noGrp="1"/>
          </p:cNvSpPr>
          <p:nvPr>
            <p:ph type="title" hasCustomPrompt="1"/>
          </p:nvPr>
        </p:nvSpPr>
        <p:spPr/>
        <p:txBody>
          <a:bodyPr vert="horz"/>
          <a:lstStyle>
            <a:lvl1pPr rtl="0">
              <a:defRPr>
                <a:solidFill>
                  <a:schemeClr val="tx1"/>
                </a:solidFill>
              </a:defRPr>
            </a:lvl1pPr>
          </a:lstStyle>
          <a:p>
            <a:r>
              <a:rPr lang="en-US" noProof="0" err="1"/>
              <a:t>Titelformat</a:t>
            </a:r>
            <a:r>
              <a:rPr lang="en-US" noProof="0"/>
              <a:t> </a:t>
            </a:r>
            <a:r>
              <a:rPr lang="en-US" noProof="0" err="1"/>
              <a:t>bearbeiten</a:t>
            </a:r>
            <a:endParaRPr lang="en-US" noProof="0"/>
          </a:p>
        </p:txBody>
      </p:sp>
      <p:sp>
        <p:nvSpPr>
          <p:cNvPr id="3" name="Copy 1">
            <a:extLst>
              <a:ext uri="{FF2B5EF4-FFF2-40B4-BE49-F238E27FC236}">
                <a16:creationId xmlns:a16="http://schemas.microsoft.com/office/drawing/2014/main" id="{9CE7E2D8-94E8-4FE6-93A5-924CA3EC5315}"/>
              </a:ext>
            </a:extLst>
          </p:cNvPr>
          <p:cNvSpPr>
            <a:spLocks noGrp="1"/>
          </p:cNvSpPr>
          <p:nvPr>
            <p:ph idx="1" hasCustomPrompt="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rtl="0">
              <a:defRPr>
                <a:ln>
                  <a:noFill/>
                </a:ln>
              </a:defRPr>
            </a:lvl1pPr>
            <a:lvl2pPr rtl="0">
              <a:buClr>
                <a:srgbClr val="00FFB9"/>
              </a:buClr>
              <a:defRPr>
                <a:ln>
                  <a:noFill/>
                </a:ln>
              </a:defRPr>
            </a:lvl2pPr>
            <a:lvl3pPr rtl="0">
              <a:buClr>
                <a:srgbClr val="00FFB9"/>
              </a:buClr>
              <a:defRPr>
                <a:ln>
                  <a:noFill/>
                </a:ln>
              </a:defRPr>
            </a:lvl3pPr>
            <a:lvl4pPr rtl="0">
              <a:buClr>
                <a:srgbClr val="00FFB9"/>
              </a:buClr>
              <a:defRPr>
                <a:ln>
                  <a:noFill/>
                </a:ln>
              </a:defRPr>
            </a:lvl4pPr>
            <a:lvl5pPr rtl="0">
              <a:buClr>
                <a:srgbClr val="00FFB9"/>
              </a:buClr>
              <a:defRPr>
                <a:ln>
                  <a:noFill/>
                </a:ln>
              </a:defRPr>
            </a:lvl5pPr>
            <a:lvl6pPr rtl="0">
              <a:buClr>
                <a:srgbClr val="00FFB9"/>
              </a:buClr>
              <a:defRPr>
                <a:ln>
                  <a:noFill/>
                </a:ln>
              </a:defRPr>
            </a:lvl6pPr>
            <a:lvl7pPr rtl="0">
              <a:buClr>
                <a:srgbClr val="00FFB9"/>
              </a:buClr>
              <a:defRPr>
                <a:ln>
                  <a:noFill/>
                </a:ln>
              </a:defRPr>
            </a:lvl7pPr>
            <a:lvl8pPr rtl="0">
              <a:buClr>
                <a:srgbClr val="00FFB9"/>
              </a:buClr>
              <a:defRPr>
                <a:ln>
                  <a:noFill/>
                </a:ln>
              </a:defRPr>
            </a:lvl8pPr>
            <a:lvl9pPr rtl="0">
              <a:buClr>
                <a:srgbClr val="00FFB9"/>
              </a:buClr>
              <a:defRPr>
                <a:ln>
                  <a:noFill/>
                </a:ln>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11" name="Copy 2">
            <a:extLst>
              <a:ext uri="{FF2B5EF4-FFF2-40B4-BE49-F238E27FC236}">
                <a16:creationId xmlns:a16="http://schemas.microsoft.com/office/drawing/2014/main" id="{3AC3CE10-0C4B-4A11-BA76-8CAFED13661C}"/>
              </a:ext>
            </a:extLst>
          </p:cNvPr>
          <p:cNvSpPr>
            <a:spLocks noGrp="1"/>
          </p:cNvSpPr>
          <p:nvPr>
            <p:ph idx="13" hasCustomPrompt="1"/>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rtl="0">
              <a:defRPr>
                <a:ln>
                  <a:noFill/>
                </a:ln>
              </a:defRPr>
            </a:lvl1pPr>
            <a:lvl2pPr rtl="0">
              <a:buClr>
                <a:srgbClr val="00FFB9"/>
              </a:buClr>
              <a:defRPr>
                <a:ln>
                  <a:noFill/>
                </a:ln>
              </a:defRPr>
            </a:lvl2pPr>
            <a:lvl3pPr rtl="0">
              <a:buClr>
                <a:srgbClr val="00FFB9"/>
              </a:buClr>
              <a:defRPr>
                <a:ln>
                  <a:noFill/>
                </a:ln>
              </a:defRPr>
            </a:lvl3pPr>
            <a:lvl4pPr rtl="0">
              <a:buClr>
                <a:srgbClr val="00FFB9"/>
              </a:buClr>
              <a:defRPr>
                <a:ln>
                  <a:noFill/>
                </a:ln>
              </a:defRPr>
            </a:lvl4pPr>
            <a:lvl5pPr rtl="0">
              <a:buClr>
                <a:srgbClr val="00FFB9"/>
              </a:buClr>
              <a:defRPr>
                <a:ln>
                  <a:noFill/>
                </a:ln>
              </a:defRPr>
            </a:lvl5pPr>
            <a:lvl6pPr rtl="0">
              <a:buClr>
                <a:srgbClr val="00FFB9"/>
              </a:buClr>
              <a:defRPr>
                <a:ln>
                  <a:noFill/>
                </a:ln>
              </a:defRPr>
            </a:lvl6pPr>
            <a:lvl7pPr rtl="0">
              <a:buClr>
                <a:srgbClr val="00FFB9"/>
              </a:buClr>
              <a:defRPr>
                <a:ln>
                  <a:noFill/>
                </a:ln>
              </a:defRPr>
            </a:lvl7pPr>
            <a:lvl8pPr rtl="0">
              <a:buClr>
                <a:srgbClr val="00FFB9"/>
              </a:buClr>
              <a:defRPr>
                <a:ln>
                  <a:noFill/>
                </a:ln>
              </a:defRPr>
            </a:lvl8pPr>
            <a:lvl9pPr rtl="0">
              <a:buClr>
                <a:srgbClr val="00FFB9"/>
              </a:buClr>
              <a:defRPr>
                <a:ln>
                  <a:noFill/>
                </a:ln>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10" name="Copy 3">
            <a:extLst>
              <a:ext uri="{FF2B5EF4-FFF2-40B4-BE49-F238E27FC236}">
                <a16:creationId xmlns:a16="http://schemas.microsoft.com/office/drawing/2014/main" id="{E840DCCC-8E77-40B8-B94B-A4D3A4D77826}"/>
              </a:ext>
            </a:extLst>
          </p:cNvPr>
          <p:cNvSpPr>
            <a:spLocks noGrp="1"/>
          </p:cNvSpPr>
          <p:nvPr>
            <p:ph idx="12" hasCustomPrompt="1"/>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rtl="0">
              <a:defRPr>
                <a:solidFill>
                  <a:schemeClr val="bg1"/>
                </a:solidFill>
              </a:defRPr>
            </a:lvl1pPr>
            <a:lvl2pPr rtl="0">
              <a:buClr>
                <a:schemeClr val="accent1"/>
              </a:buClr>
              <a:defRPr>
                <a:solidFill>
                  <a:schemeClr val="bg1"/>
                </a:solidFill>
              </a:defRPr>
            </a:lvl2pPr>
            <a:lvl3pPr rtl="0">
              <a:buClr>
                <a:schemeClr val="accent1"/>
              </a:buClr>
              <a:defRPr>
                <a:solidFill>
                  <a:schemeClr val="bg1"/>
                </a:solidFill>
              </a:defRPr>
            </a:lvl3pPr>
            <a:lvl4pPr rtl="0">
              <a:buClr>
                <a:schemeClr val="accent1"/>
              </a:buClr>
              <a:defRPr>
                <a:solidFill>
                  <a:schemeClr val="bg1"/>
                </a:solidFill>
              </a:defRPr>
            </a:lvl4pPr>
            <a:lvl5pPr rtl="0">
              <a:buClr>
                <a:schemeClr val="accent1"/>
              </a:buClr>
              <a:defRPr>
                <a:solidFill>
                  <a:schemeClr val="bg1"/>
                </a:solidFill>
              </a:defRPr>
            </a:lvl5pPr>
            <a:lvl6pPr rtl="0">
              <a:buClr>
                <a:schemeClr val="accent1"/>
              </a:buClr>
              <a:defRPr>
                <a:solidFill>
                  <a:schemeClr val="bg1"/>
                </a:solidFill>
              </a:defRPr>
            </a:lvl6pPr>
            <a:lvl7pPr rtl="0">
              <a:buClr>
                <a:schemeClr val="accent1"/>
              </a:buClr>
              <a:defRPr>
                <a:solidFill>
                  <a:schemeClr val="bg1"/>
                </a:solidFill>
              </a:defRPr>
            </a:lvl7pPr>
            <a:lvl8pPr rtl="0">
              <a:buClr>
                <a:schemeClr val="accent1"/>
              </a:buClr>
              <a:defRPr>
                <a:solidFill>
                  <a:schemeClr val="bg1"/>
                </a:solidFill>
              </a:defRPr>
            </a:lvl8pPr>
            <a:lvl9pPr rtl="0">
              <a:buClr>
                <a:schemeClr val="accent1"/>
              </a:buClr>
              <a:defRPr>
                <a:solidFill>
                  <a:schemeClr val="bg1"/>
                </a:solidFill>
              </a:defRPr>
            </a:lvl9p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lvl1pPr rtl="0">
              <a:defRPr/>
            </a:lvl1pPr>
          </a:lstStyle>
          <a:p>
            <a:r>
              <a:rPr lang="en-US"/>
              <a:t>Unrestricted | © Siemens 2023 | MACHINUM</a:t>
            </a:r>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EB3DA06-EB8E-42C5-A51C-06AE0ED73B0C}"/>
              </a:ext>
            </a:extLst>
          </p:cNvPr>
          <p:cNvGraphicFramePr>
            <a:graphicFrameLocks noChangeAspect="1"/>
          </p:cNvGraphicFramePr>
          <p:nvPr userDrawn="1">
            <p:custDataLst>
              <p:tags r:id="rId1"/>
            </p:custDataLst>
            <p:extLst>
              <p:ext uri="{D42A27DB-BD31-4B8C-83A1-F6EECF244321}">
                <p14:modId xmlns:p14="http://schemas.microsoft.com/office/powerpoint/2010/main" val="384356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4EB3DA06-EB8E-42C5-A51C-06AE0ED73B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gnisphere" descr="Background pattern&#10;&#10;Description automatically generated">
            <a:extLst>
              <a:ext uri="{FF2B5EF4-FFF2-40B4-BE49-F238E27FC236}">
                <a16:creationId xmlns:a16="http://schemas.microsoft.com/office/drawing/2014/main" id="{5EC16A07-2831-49DA-88B1-B2DAEFACD6A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b="500"/>
            </a:stretch>
          </a:blipFill>
        </p:spPr>
        <p:txBody>
          <a:bodyPr vert="horz" rIns="0" bIns="0" anchor="t" anchorCtr="0">
            <a:spAutoFit/>
          </a:bodyPr>
          <a:lstStyle>
            <a:lvl1pPr marL="414000" rtl="0">
              <a:lnSpc>
                <a:spcPct val="100000"/>
              </a:lnSpc>
              <a:defRPr sz="6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3 </a:t>
            </a:r>
            <a:r>
              <a:rPr lang="en-US" noProof="0" err="1"/>
              <a:t>Zeilen</a:t>
            </a:r>
            <a:br>
              <a:rPr lang="en-US" noProof="0"/>
            </a:br>
            <a:r>
              <a:rPr lang="en-US" noProof="0" err="1"/>
              <a:t>Titel</a:t>
            </a:r>
            <a:r>
              <a:rPr lang="en-US" noProof="0"/>
              <a:t> 6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rtl="0">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Titelgröße</a:t>
            </a:r>
            <a:r>
              <a:rPr lang="en-US" noProof="0"/>
              <a:t> 60 </a:t>
            </a:r>
            <a:r>
              <a:rPr lang="en-US" noProof="0" err="1"/>
              <a:t>pt</a:t>
            </a:r>
            <a:endParaRPr lang="en-US" noProof="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lvl1pPr rtl="0">
              <a:defRPr/>
            </a:lvl1pPr>
          </a:lstStyle>
          <a:p>
            <a:r>
              <a:rPr lang="en-US"/>
              <a:t>Unrestricted | © Siemens 2023 | MACHINUM</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8640245-CBB1-4944-B057-D75AAEB2EB5A}"/>
              </a:ext>
            </a:extLst>
          </p:cNvPr>
          <p:cNvGraphicFramePr>
            <a:graphicFrameLocks noChangeAspect="1"/>
          </p:cNvGraphicFramePr>
          <p:nvPr userDrawn="1">
            <p:custDataLst>
              <p:tags r:id="rId1"/>
            </p:custDataLst>
            <p:extLst>
              <p:ext uri="{D42A27DB-BD31-4B8C-83A1-F6EECF244321}">
                <p14:modId xmlns:p14="http://schemas.microsoft.com/office/powerpoint/2010/main" val="2582309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28640245-CBB1-4944-B057-D75AAEB2E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rtl="0">
              <a:lnSpc>
                <a:spcPct val="110000"/>
              </a:lnSpc>
              <a:spcAft>
                <a:spcPts val="0"/>
              </a:spcAft>
              <a:defRPr sz="4800" b="0">
                <a:solidFill>
                  <a:schemeClr val="tx2"/>
                </a:solidFill>
              </a:defRPr>
            </a:lvl1pPr>
            <a:lvl2pPr marL="36000" indent="0" rtl="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noProof="0"/>
              <a:t>Bitte </a:t>
            </a:r>
            <a:r>
              <a:rPr lang="en-US" noProof="0" err="1"/>
              <a:t>hier</a:t>
            </a:r>
            <a:r>
              <a:rPr lang="en-US" noProof="0"/>
              <a:t> das </a:t>
            </a:r>
            <a:r>
              <a:rPr lang="en-US" noProof="0" err="1"/>
              <a:t>Zitat</a:t>
            </a:r>
            <a:r>
              <a:rPr lang="en-US" noProof="0"/>
              <a:t> </a:t>
            </a:r>
            <a:r>
              <a:rPr lang="en-US" noProof="0" err="1"/>
              <a:t>einfügen</a:t>
            </a:r>
            <a:r>
              <a:rPr lang="en-US" noProof="0"/>
              <a:t>.</a:t>
            </a:r>
          </a:p>
          <a:p>
            <a:pPr lvl="1"/>
            <a:r>
              <a:rPr lang="en-US" noProof="0"/>
              <a:t>Name, Aut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pPr rtl="0"/>
            <a:endParaRPr lang="en-US" noProof="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lvl1pPr rtl="0">
              <a:defRPr/>
            </a:lvl1pPr>
          </a:lstStyle>
          <a:p>
            <a:r>
              <a:rPr lang="en-US"/>
              <a:t>Unrestricted | © Siemens 2023 | MACHINUM</a:t>
            </a:r>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lvl1pPr rtl="0">
              <a:defRPr/>
            </a:lvl1p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27786AE-9FD6-4497-9C31-17C35D83A4E5}"/>
              </a:ext>
            </a:extLst>
          </p:cNvPr>
          <p:cNvGraphicFramePr>
            <a:graphicFrameLocks noChangeAspect="1"/>
          </p:cNvGraphicFramePr>
          <p:nvPr userDrawn="1">
            <p:custDataLst>
              <p:tags r:id="rId1"/>
            </p:custDataLst>
            <p:extLst>
              <p:ext uri="{D42A27DB-BD31-4B8C-83A1-F6EECF244321}">
                <p14:modId xmlns:p14="http://schemas.microsoft.com/office/powerpoint/2010/main" val="197847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627786AE-9FD6-4497-9C31-17C35D83A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rtl="0">
              <a:lnSpc>
                <a:spcPct val="110000"/>
              </a:lnSpc>
              <a:spcAft>
                <a:spcPts val="0"/>
              </a:spcAft>
              <a:defRPr sz="4800" b="0">
                <a:solidFill>
                  <a:schemeClr val="tx1"/>
                </a:solidFill>
              </a:defRPr>
            </a:lvl1pPr>
            <a:lvl2pPr marL="36000" indent="0" rtl="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noProof="0"/>
              <a:t>Bitte </a:t>
            </a:r>
            <a:r>
              <a:rPr lang="en-US" noProof="0" err="1"/>
              <a:t>hier</a:t>
            </a:r>
            <a:r>
              <a:rPr lang="en-US" noProof="0"/>
              <a:t> das </a:t>
            </a:r>
            <a:r>
              <a:rPr lang="en-US" noProof="0" err="1"/>
              <a:t>Zitat</a:t>
            </a:r>
            <a:r>
              <a:rPr lang="en-US" noProof="0"/>
              <a:t> </a:t>
            </a:r>
            <a:r>
              <a:rPr lang="en-US" noProof="0" err="1"/>
              <a:t>einfügen</a:t>
            </a:r>
            <a:r>
              <a:rPr lang="en-US" noProof="0"/>
              <a:t>.</a:t>
            </a:r>
          </a:p>
          <a:p>
            <a:pPr lvl="1"/>
            <a:r>
              <a:rPr lang="en-US" noProof="0"/>
              <a:t>Name, Aut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pPr rtl="0"/>
            <a:endParaRPr lang="en-US" noProof="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lvl1pPr rtl="0">
              <a:defRPr/>
            </a:lvl1pPr>
          </a:lstStyle>
          <a:p>
            <a:r>
              <a:rPr lang="en-US"/>
              <a:t>Unrestricted | © Siemens 2023 | MACHINUM</a:t>
            </a:r>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lvl1pPr rtl="0">
              <a:defRPr/>
            </a:lvl1p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993231E-736C-4B66-91CF-C6C845276B7F}"/>
              </a:ext>
            </a:extLst>
          </p:cNvPr>
          <p:cNvGraphicFramePr>
            <a:graphicFrameLocks noChangeAspect="1"/>
          </p:cNvGraphicFramePr>
          <p:nvPr userDrawn="1">
            <p:custDataLst>
              <p:tags r:id="rId1"/>
            </p:custDataLst>
            <p:extLst>
              <p:ext uri="{D42A27DB-BD31-4B8C-83A1-F6EECF244321}">
                <p14:modId xmlns:p14="http://schemas.microsoft.com/office/powerpoint/2010/main" val="3578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B993231E-736C-4B66-91CF-C6C845276B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a:xfrm>
            <a:off x="986400" y="1271538"/>
            <a:ext cx="10800000" cy="4536000"/>
          </a:xfrm>
        </p:spPr>
        <p:txBody>
          <a:bodyPr vert="horz" lIns="0" tIns="0" rIns="0" bIns="0" anchor="t">
            <a:noAutofit/>
          </a:bodyPr>
          <a:lstStyle>
            <a:lvl1pPr rtl="0">
              <a:lnSpc>
                <a:spcPct val="90000"/>
              </a:lnSpc>
              <a:defRPr sz="8000">
                <a:gradFill>
                  <a:gsLst>
                    <a:gs pos="0">
                      <a:schemeClr val="accent2"/>
                    </a:gs>
                    <a:gs pos="100000">
                      <a:schemeClr val="accent3"/>
                    </a:gs>
                  </a:gsLst>
                  <a:lin ang="0" scaled="1"/>
                </a:gradFill>
              </a:defRPr>
            </a:lvl1pPr>
          </a:lstStyle>
          <a:p>
            <a:r>
              <a:rPr lang="en-US" noProof="0" err="1"/>
              <a:t>Titel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lvl1pPr rtl="0">
              <a:defRPr/>
            </a:lvl1pPr>
          </a:lstStyle>
          <a:p>
            <a:r>
              <a:rPr lang="en-US"/>
              <a:t>Unrestricted | © Siemens 2023 | MACHINUM</a:t>
            </a:r>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4189265-BFE3-4C3B-8792-73ED7636AEF5}"/>
              </a:ext>
            </a:extLst>
          </p:cNvPr>
          <p:cNvGraphicFramePr>
            <a:graphicFrameLocks noChangeAspect="1"/>
          </p:cNvGraphicFramePr>
          <p:nvPr userDrawn="1">
            <p:custDataLst>
              <p:tags r:id="rId1"/>
            </p:custDataLst>
            <p:extLst>
              <p:ext uri="{D42A27DB-BD31-4B8C-83A1-F6EECF244321}">
                <p14:modId xmlns:p14="http://schemas.microsoft.com/office/powerpoint/2010/main" val="145246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04189265-BFE3-4C3B-8792-73ED7636AE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hasCustomPrompt="1"/>
          </p:nvPr>
        </p:nvSpPr>
        <p:spPr>
          <a:xfrm>
            <a:off x="986400" y="1270799"/>
            <a:ext cx="10800000" cy="4536000"/>
          </a:xfrm>
        </p:spPr>
        <p:txBody>
          <a:bodyPr vert="horz" lIns="0" tIns="0" rIns="0" bIns="0" anchor="t">
            <a:noAutofit/>
          </a:bodyPr>
          <a:lstStyle>
            <a:lvl1pPr rtl="0">
              <a:lnSpc>
                <a:spcPct val="90000"/>
              </a:lnSpc>
              <a:defRPr sz="8000">
                <a:gradFill>
                  <a:gsLst>
                    <a:gs pos="0">
                      <a:schemeClr val="accent2"/>
                    </a:gs>
                    <a:gs pos="100000">
                      <a:schemeClr val="accent3"/>
                    </a:gs>
                  </a:gsLst>
                  <a:lin ang="0" scaled="1"/>
                </a:gradFill>
              </a:defRPr>
            </a:lvl1pPr>
          </a:lstStyle>
          <a:p>
            <a:r>
              <a:rPr lang="en-US" noProof="0" err="1"/>
              <a:t>Titel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lvl1pPr rtl="0">
              <a:defRPr/>
            </a:lvl1pPr>
          </a:lstStyle>
          <a:p>
            <a:r>
              <a:rPr lang="en-US"/>
              <a:t>Unrestricted | © Siemens 2023 | MACHINUM</a:t>
            </a:r>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DC09045-1D16-456B-8DC2-10159C117E2F}"/>
              </a:ext>
            </a:extLst>
          </p:cNvPr>
          <p:cNvGraphicFramePr>
            <a:graphicFrameLocks noChangeAspect="1"/>
          </p:cNvGraphicFramePr>
          <p:nvPr userDrawn="1">
            <p:custDataLst>
              <p:tags r:id="rId1"/>
            </p:custDataLst>
            <p:extLst>
              <p:ext uri="{D42A27DB-BD31-4B8C-83A1-F6EECF244321}">
                <p14:modId xmlns:p14="http://schemas.microsoft.com/office/powerpoint/2010/main" val="3186515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FDC09045-1D16-456B-8DC2-10159C117E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5">
              <a:extLst>
                <a:ext uri="{96DAC541-7B7A-43D3-8B79-37D633B846F1}">
                  <asvg:svgBlip xmlns:asvg="http://schemas.microsoft.com/office/drawing/2016/SVG/main" r:embed="rId6"/>
                </a:ext>
              </a:extLst>
            </a:blip>
            <a:srcRect/>
            <a:stretch>
              <a:fillRect/>
            </a:stretch>
          </a:blipFill>
        </p:spPr>
        <p:txBody>
          <a:bodyPr vert="horz" wrap="square" lIns="0" tIns="54000" rIns="0" bIns="0" anchor="t" anchorCtr="0">
            <a:spAutoFit/>
          </a:bodyPr>
          <a:lstStyle>
            <a:lvl1pPr marL="540000" rtl="0">
              <a:defRPr sz="8000">
                <a:solidFill>
                  <a:schemeClr val="tx1"/>
                </a:solidFill>
              </a:defRPr>
            </a:lvl1pPr>
          </a:lstStyle>
          <a:p>
            <a:r>
              <a:rPr lang="en-US" noProof="0" err="1"/>
              <a:t>Kontakt</a:t>
            </a:r>
            <a:endParaRPr lang="en-US" noProof="0"/>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rtl="0">
              <a:spcAft>
                <a:spcPts val="0"/>
              </a:spcAft>
              <a:buNone/>
              <a:defRPr sz="1400">
                <a:solidFill>
                  <a:schemeClr val="tx1"/>
                </a:solidFill>
              </a:defRPr>
            </a:lvl1pPr>
            <a:lvl2pPr marL="0" indent="0" algn="l" rtl="0">
              <a:spcBef>
                <a:spcPts val="600"/>
              </a:spcBef>
              <a:spcAft>
                <a:spcPts val="0"/>
              </a:spcAft>
              <a:buFont typeface="Arial" panose="020B0604020202020204" pitchFamily="34" charset="0"/>
              <a:buNone/>
              <a:defRPr sz="1400" b="1"/>
            </a:lvl2pPr>
            <a:lvl3pPr marL="180000" indent="-180000" algn="l" rtl="0">
              <a:spcAft>
                <a:spcPts val="0"/>
              </a:spcAft>
              <a:buFont typeface="Arial" panose="020B0604020202020204" pitchFamily="34" charset="0"/>
              <a:buChar char="•"/>
              <a:defRPr sz="1400" b="0"/>
            </a:lvl3pPr>
            <a:lvl4pPr marL="360000" indent="-180000" algn="l" rtl="0">
              <a:spcAft>
                <a:spcPts val="0"/>
              </a:spcAft>
              <a:buFont typeface="Arial" panose="020B0604020202020204" pitchFamily="34" charset="0"/>
              <a:buChar char="•"/>
              <a:defRPr sz="1400"/>
            </a:lvl4pPr>
            <a:lvl5pPr marL="360000" indent="-180000" algn="l" rtl="0">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noProof="0" err="1"/>
              <a:t>Kontakt</a:t>
            </a:r>
            <a:r>
              <a:rPr lang="en-US" noProof="0"/>
              <a:t> </a:t>
            </a:r>
            <a:r>
              <a:rPr lang="en-US" noProof="0" err="1"/>
              <a:t>bearbeiten</a:t>
            </a:r>
            <a:endParaRPr lang="en-US" noProof="0"/>
          </a:p>
          <a:p>
            <a:pPr lvl="1"/>
            <a:r>
              <a:rPr lang="en-US" noProof="0"/>
              <a:t>Name etc.</a:t>
            </a:r>
          </a:p>
          <a:p>
            <a:pPr lvl="2"/>
            <a:r>
              <a:rPr lang="en-US" noProof="0" err="1"/>
              <a:t>Abteilung</a:t>
            </a:r>
            <a:r>
              <a:rPr lang="en-US" noProof="0"/>
              <a:t> etc.</a:t>
            </a:r>
          </a:p>
          <a:p>
            <a:pPr lvl="3"/>
            <a:r>
              <a:rPr lang="en-US" noProof="0" err="1"/>
              <a:t>Unterkapitel</a:t>
            </a:r>
            <a:endParaRPr lang="en-US" noProof="0"/>
          </a:p>
          <a:p>
            <a:pPr lvl="4"/>
            <a:r>
              <a:rPr lang="en-US" noProof="0" err="1"/>
              <a:t>Aktives</a:t>
            </a:r>
            <a:r>
              <a:rPr lang="en-US" noProof="0"/>
              <a:t> </a:t>
            </a:r>
            <a:r>
              <a:rPr lang="en-US" noProof="0" err="1"/>
              <a:t>Unterkapitel</a:t>
            </a:r>
            <a:endParaRPr lang="en-US" noProof="0"/>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lvl1pPr rtl="0">
              <a:defRPr/>
            </a:lvl1pPr>
          </a:lstStyle>
          <a:p>
            <a:r>
              <a:rPr lang="en-US"/>
              <a:t>Unrestricted | © Siemens 2023 | MACHINUM</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One object (small)" type="obj">
  <p:cSld name="1_One object (smal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0891355-D181-49DC-8B0C-C875834E3BFF}"/>
              </a:ext>
            </a:extLst>
          </p:cNvPr>
          <p:cNvGraphicFramePr>
            <a:graphicFrameLocks noChangeAspect="1"/>
          </p:cNvGraphicFramePr>
          <p:nvPr userDrawn="1">
            <p:custDataLst>
              <p:tags r:id="rId2"/>
            </p:custDataLst>
            <p:extLst>
              <p:ext uri="{D42A27DB-BD31-4B8C-83A1-F6EECF244321}">
                <p14:modId xmlns:p14="http://schemas.microsoft.com/office/powerpoint/2010/main" val="373508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3" imgH="353" progId="TCLayout.ActiveDocument.1">
                  <p:embed/>
                </p:oleObj>
              </mc:Choice>
              <mc:Fallback>
                <p:oleObj name="think-cell Folie" r:id="rId6" imgW="353" imgH="353" progId="TCLayout.ActiveDocument.1">
                  <p:embed/>
                  <p:pic>
                    <p:nvPicPr>
                      <p:cNvPr id="5" name="Objekt 4" hidden="1">
                        <a:extLst>
                          <a:ext uri="{FF2B5EF4-FFF2-40B4-BE49-F238E27FC236}">
                            <a16:creationId xmlns:a16="http://schemas.microsoft.com/office/drawing/2014/main" id="{90891355-D181-49DC-8B0C-C875834E3B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cdtTitle 1 Id2"/>
          <p:cNvSpPr>
            <a:spLocks noGrp="1"/>
          </p:cNvSpPr>
          <p:nvPr>
            <p:ph type="title" hasCustomPrompt="1"/>
            <p:custDataLst>
              <p:tags r:id="rId3"/>
            </p:custDataLst>
          </p:nvPr>
        </p:nvSpPr>
        <p:spPr>
          <a:xfrm>
            <a:off x="0" y="-1"/>
            <a:ext cx="12192000" cy="1440000"/>
          </a:xfrm>
        </p:spPr>
        <p:txBody>
          <a:bodyPr vert="horz"/>
          <a:lstStyle>
            <a:lvl1pPr rtl="0">
              <a:defRPr/>
            </a:lvl1pPr>
          </a:lstStyle>
          <a:p>
            <a:r>
              <a:rPr lang="en-US" noProof="0"/>
              <a:t>Click to edit Master title style</a:t>
            </a:r>
          </a:p>
        </p:txBody>
      </p:sp>
      <p:sp>
        <p:nvSpPr>
          <p:cNvPr id="3" name="cdtContent Placeholder 2 Id3"/>
          <p:cNvSpPr>
            <a:spLocks noGrp="1"/>
          </p:cNvSpPr>
          <p:nvPr>
            <p:ph idx="1" hasCustomPrompt="1"/>
            <p:custDataLst>
              <p:tags r:id="rId4"/>
            </p:custDataLst>
          </p:nvPr>
        </p:nvSpPr>
        <p:spPr>
          <a:xfrm>
            <a:off x="626736" y="1443038"/>
            <a:ext cx="6764477" cy="4748962"/>
          </a:xfrm>
        </p:spPr>
        <p:txBody>
          <a:bodyPr/>
          <a:lstStyle>
            <a:lvl1pPr rtl="0">
              <a:defRPr/>
            </a:lvl1pPr>
            <a:lvl2pPr rtl="0">
              <a:defRPr/>
            </a:lvl2pPr>
            <a:lvl3pPr rtl="0">
              <a:defRPr/>
            </a:lvl3pPr>
            <a:lvl4pPr rtl="0">
              <a:defRPr/>
            </a:lvl4pPr>
            <a:lvl5pPr rtl="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custDataLst>
      <p:custData r:id="rId1"/>
    </p:custDataLst>
    <p:extLst>
      <p:ext uri="{BB962C8B-B14F-4D97-AF65-F5344CB8AC3E}">
        <p14:creationId xmlns:p14="http://schemas.microsoft.com/office/powerpoint/2010/main" val="13169491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AEDDF6E-FB2D-4128-83FF-CBEE94EA8C79}"/>
              </a:ext>
            </a:extLst>
          </p:cNvPr>
          <p:cNvGraphicFramePr>
            <a:graphicFrameLocks noChangeAspect="1"/>
          </p:cNvGraphicFramePr>
          <p:nvPr userDrawn="1">
            <p:custDataLst>
              <p:tags r:id="rId1"/>
            </p:custDataLst>
            <p:extLst>
              <p:ext uri="{D42A27DB-BD31-4B8C-83A1-F6EECF244321}">
                <p14:modId xmlns:p14="http://schemas.microsoft.com/office/powerpoint/2010/main" val="2060357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FAEDDF6E-FB2D-4128-83FF-CBEE94EA8C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rtl="0">
              <a:buClrTx/>
              <a:buFontTx/>
              <a:buNone/>
            </a:pPr>
            <a:endParaRPr lang="en-US" sz="1099" b="1" noProof="0">
              <a:solidFill>
                <a:srgbClr val="990000"/>
              </a:solidFill>
            </a:endParaRPr>
          </a:p>
        </p:txBody>
      </p:sp>
      <p:sp>
        <p:nvSpPr>
          <p:cNvPr id="30" name="cdtRectangle 115 Id57350"/>
          <p:cNvSpPr>
            <a:spLocks noGrp="1" noChangeArrowheads="1"/>
          </p:cNvSpPr>
          <p:nvPr>
            <p:ph type="ctrTitle" hasCustomPrompt="1"/>
            <p:custDataLst>
              <p:tags r:id="rId3"/>
            </p:custDataLst>
          </p:nvPr>
        </p:nvSpPr>
        <p:spPr bwMode="auto">
          <a:xfrm>
            <a:off x="626736" y="4704643"/>
            <a:ext cx="6476627" cy="1527271"/>
          </a:xfrm>
          <a:noFill/>
        </p:spPr>
        <p:txBody>
          <a:bodyPr vert="horz" wrap="square" lIns="216000" tIns="90000" rIns="216000" bIns="216000" anchor="b" anchorCtr="0">
            <a:spAutoFit/>
          </a:bodyPr>
          <a:lstStyle>
            <a:lvl1pPr rtl="0">
              <a:defRPr sz="4398" smtClean="0">
                <a:solidFill>
                  <a:srgbClr val="FFFFFF"/>
                </a:solidFill>
                <a:latin typeface="Arial" pitchFamily="34" charset="0"/>
              </a:defRPr>
            </a:lvl1pPr>
          </a:lstStyle>
          <a:p>
            <a:r>
              <a:rPr lang="en-US" noProof="0"/>
              <a:t>Click to edit Master title style</a:t>
            </a:r>
          </a:p>
        </p:txBody>
      </p:sp>
      <p:grpSp>
        <p:nvGrpSpPr>
          <p:cNvPr id="81" name="Gruppieren 80"/>
          <p:cNvGrpSpPr/>
          <p:nvPr userDrawn="1"/>
        </p:nvGrpSpPr>
        <p:grpSpPr>
          <a:xfrm>
            <a:off x="-215888" y="-216000"/>
            <a:ext cx="12622226"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0189" y="323850"/>
            <a:ext cx="2157876"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799" noProof="0"/>
            </a:p>
          </p:txBody>
        </p:sp>
      </p:grpSp>
    </p:spTree>
    <p:extLst>
      <p:ext uri="{BB962C8B-B14F-4D97-AF65-F5344CB8AC3E}">
        <p14:creationId xmlns:p14="http://schemas.microsoft.com/office/powerpoint/2010/main" val="23077854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Free Content" userDrawn="1">
  <p:cSld name="1_Fre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8995960-A443-4687-9D03-2F618392E327}"/>
              </a:ext>
            </a:extLst>
          </p:cNvPr>
          <p:cNvGraphicFramePr>
            <a:graphicFrameLocks noChangeAspect="1"/>
          </p:cNvGraphicFramePr>
          <p:nvPr userDrawn="1">
            <p:custDataLst>
              <p:tags r:id="rId2"/>
            </p:custDataLst>
            <p:extLst>
              <p:ext uri="{D42A27DB-BD31-4B8C-83A1-F6EECF244321}">
                <p14:modId xmlns:p14="http://schemas.microsoft.com/office/powerpoint/2010/main" val="216481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98995960-A443-4687-9D03-2F618392E3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hasCustomPrompt="1"/>
          </p:nvPr>
        </p:nvSpPr>
        <p:spPr/>
        <p:txBody>
          <a:bodyPr vert="horz"/>
          <a:lstStyle>
            <a:lvl1pPr rtl="0">
              <a:defRPr/>
            </a:lvl1pPr>
          </a:lstStyle>
          <a:p>
            <a:r>
              <a:rPr lang="en-US"/>
              <a:t>Click to edit Master title style</a:t>
            </a:r>
          </a:p>
        </p:txBody>
      </p:sp>
    </p:spTree>
    <p:custDataLst>
      <p:custData r:id="rId1"/>
    </p:custDataLst>
    <p:extLst>
      <p:ext uri="{BB962C8B-B14F-4D97-AF65-F5344CB8AC3E}">
        <p14:creationId xmlns:p14="http://schemas.microsoft.com/office/powerpoint/2010/main" val="37401433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Image + Index">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E538A4A-5899-4B0B-B02B-5C99E130915F}"/>
              </a:ext>
            </a:extLst>
          </p:cNvPr>
          <p:cNvGraphicFramePr>
            <a:graphicFrameLocks noChangeAspect="1"/>
          </p:cNvGraphicFramePr>
          <p:nvPr userDrawn="1">
            <p:custDataLst>
              <p:tags r:id="rId1"/>
            </p:custDataLst>
            <p:extLst>
              <p:ext uri="{D42A27DB-BD31-4B8C-83A1-F6EECF244321}">
                <p14:modId xmlns:p14="http://schemas.microsoft.com/office/powerpoint/2010/main" val="3318362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3E538A4A-5899-4B0B-B02B-5C99E1309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en-US" noProof="0"/>
              <a:t>Click to edit Master title style</a:t>
            </a:r>
          </a:p>
        </p:txBody>
      </p:sp>
      <p:sp>
        <p:nvSpPr>
          <p:cNvPr id="4" name="cdtText Placeholder 12 Id13"/>
          <p:cNvSpPr>
            <a:spLocks noGrp="1"/>
          </p:cNvSpPr>
          <p:nvPr>
            <p:ph type="body" sz="quarter" idx="14" hasCustomPrompt="1"/>
            <p:custDataLst>
              <p:tags r:id="rId2"/>
            </p:custDataLst>
          </p:nvPr>
        </p:nvSpPr>
        <p:spPr bwMode="auto">
          <a:xfrm>
            <a:off x="4656571" y="1439999"/>
            <a:ext cx="7535429" cy="4752000"/>
          </a:xfrm>
          <a:solidFill>
            <a:srgbClr val="DFE6ED"/>
          </a:solidFill>
        </p:spPr>
        <p:txBody>
          <a:bodyPr lIns="288000" tIns="252000" rIns="576000" bIns="252000"/>
          <a:lstStyle>
            <a:lvl1pPr marL="0" indent="0" rtl="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9910" indent="-179910" rtl="0">
              <a:lnSpc>
                <a:spcPct val="100000"/>
              </a:lnSpc>
              <a:spcBef>
                <a:spcPts val="500"/>
              </a:spcBef>
              <a:spcAft>
                <a:spcPts val="500"/>
              </a:spcAft>
              <a:buFont typeface="Arial" pitchFamily="34" charset="0"/>
              <a:buChar char="•"/>
              <a:tabLst>
                <a:tab pos="5356720" algn="r"/>
              </a:tabLst>
              <a:defRPr b="0">
                <a:solidFill>
                  <a:srgbClr val="000000"/>
                </a:solidFill>
              </a:defRPr>
            </a:lvl2pPr>
            <a:lvl3pPr marL="179910" indent="-179910" rtl="0">
              <a:lnSpc>
                <a:spcPct val="100000"/>
              </a:lnSpc>
              <a:spcBef>
                <a:spcPts val="500"/>
              </a:spcBef>
              <a:spcAft>
                <a:spcPts val="500"/>
              </a:spcAft>
              <a:buFont typeface="Arial" pitchFamily="34" charset="0"/>
              <a:buChar char="•"/>
              <a:tabLst>
                <a:tab pos="5356720" algn="r"/>
              </a:tabLst>
              <a:defRPr b="1">
                <a:solidFill>
                  <a:srgbClr val="000000"/>
                </a:solidFill>
              </a:defRPr>
            </a:lvl3pPr>
            <a:lvl4pPr marL="359820" indent="-179910" rtl="0">
              <a:lnSpc>
                <a:spcPct val="100000"/>
              </a:lnSpc>
              <a:spcBef>
                <a:spcPts val="500"/>
              </a:spcBef>
              <a:spcAft>
                <a:spcPts val="500"/>
              </a:spcAft>
              <a:buFont typeface="Arial" pitchFamily="34" charset="0"/>
              <a:buChar char="•"/>
              <a:tabLst>
                <a:tab pos="5356720" algn="r"/>
              </a:tabLst>
              <a:defRPr b="0">
                <a:solidFill>
                  <a:srgbClr val="000000"/>
                </a:solidFill>
              </a:defRPr>
            </a:lvl4pPr>
            <a:lvl5pPr marL="359820" indent="-179910" rtl="0">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noProof="0"/>
              <a:t>Click to edit the toc / contact</a:t>
            </a:r>
          </a:p>
          <a:p>
            <a:pPr lvl="1"/>
            <a:r>
              <a:rPr lang="en-US" noProof="0"/>
              <a:t>chapter</a:t>
            </a:r>
          </a:p>
          <a:p>
            <a:pPr lvl="2"/>
            <a:r>
              <a:rPr lang="en-US" noProof="0"/>
              <a:t>active chapter</a:t>
            </a:r>
          </a:p>
          <a:p>
            <a:pPr lvl="3"/>
            <a:r>
              <a:rPr lang="en-US" noProof="0"/>
              <a:t>subchapter</a:t>
            </a:r>
          </a:p>
          <a:p>
            <a:pPr lvl="4"/>
            <a:r>
              <a:rPr lang="en-US" noProof="0"/>
              <a:t>active subchapter</a:t>
            </a:r>
          </a:p>
        </p:txBody>
      </p:sp>
      <p:sp>
        <p:nvSpPr>
          <p:cNvPr id="8" name="Bildplatzhalter 7"/>
          <p:cNvSpPr>
            <a:spLocks noGrp="1"/>
          </p:cNvSpPr>
          <p:nvPr>
            <p:ph type="pic" sz="quarter" idx="15" hasCustomPrompt="1"/>
          </p:nvPr>
        </p:nvSpPr>
        <p:spPr>
          <a:xfrm>
            <a:off x="0" y="1439999"/>
            <a:ext cx="4512050" cy="4752000"/>
          </a:xfrm>
        </p:spPr>
        <p:txBody>
          <a:bodyPr tIns="1800000"/>
          <a:lstStyle>
            <a:lvl1pPr algn="ctr" rtl="0">
              <a:defRPr/>
            </a:lvl1pPr>
          </a:lstStyle>
          <a:p>
            <a:r>
              <a:rPr lang="en-US" noProof="0"/>
              <a:t>Click icon to add picture</a:t>
            </a:r>
          </a:p>
        </p:txBody>
      </p:sp>
    </p:spTree>
    <p:extLst>
      <p:ext uri="{BB962C8B-B14F-4D97-AF65-F5344CB8AC3E}">
        <p14:creationId xmlns:p14="http://schemas.microsoft.com/office/powerpoint/2010/main" val="2613166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5CD6F41-67DA-4EBC-B6E0-18A99A1C4120}"/>
              </a:ext>
            </a:extLst>
          </p:cNvPr>
          <p:cNvGraphicFramePr>
            <a:graphicFrameLocks noChangeAspect="1"/>
          </p:cNvGraphicFramePr>
          <p:nvPr userDrawn="1">
            <p:custDataLst>
              <p:tags r:id="rId1"/>
            </p:custDataLst>
            <p:extLst>
              <p:ext uri="{D42A27DB-BD31-4B8C-83A1-F6EECF244321}">
                <p14:modId xmlns:p14="http://schemas.microsoft.com/office/powerpoint/2010/main" val="1404860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25CD6F41-67DA-4EBC-B6E0-18A99A1C41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Cognisphere" descr="A picture containing background pattern&#10;&#10;Description automatically generated">
            <a:extLst>
              <a:ext uri="{FF2B5EF4-FFF2-40B4-BE49-F238E27FC236}">
                <a16:creationId xmlns:a16="http://schemas.microsoft.com/office/drawing/2014/main" id="{EBE89C8E-7FF1-4200-B3D3-59BBB2B4B1C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b="500"/>
            </a:stretch>
          </a:blipFill>
        </p:spPr>
        <p:txBody>
          <a:bodyPr vert="horz" wrap="square" rIns="0" bIns="0" anchor="t" anchorCtr="0">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r>
              <a:rPr lang="en-US" noProof="0"/>
              <a:t> </a:t>
            </a:r>
            <a:br>
              <a:rPr lang="en-US" noProof="0"/>
            </a:br>
            <a:r>
              <a:rPr lang="en-US" noProof="0"/>
              <a:t>4 </a:t>
            </a:r>
            <a:r>
              <a:rPr lang="en-US" noProof="0" err="1"/>
              <a:t>Zeilen</a:t>
            </a:r>
            <a:br>
              <a:rPr lang="en-US" noProof="0"/>
            </a:br>
            <a:r>
              <a:rPr lang="en-US" noProof="0" err="1"/>
              <a:t>Titel</a:t>
            </a:r>
            <a:r>
              <a:rPr lang="en-US" noProof="0"/>
              <a:t> 40 </a:t>
            </a:r>
            <a:r>
              <a:rPr lang="en-US" noProof="0" err="1"/>
              <a:t>pt</a:t>
            </a:r>
            <a:br>
              <a:rPr lang="en-US" noProof="0"/>
            </a:br>
            <a:r>
              <a:rPr lang="en-US" noProof="0"/>
              <a:t>Extra </a:t>
            </a:r>
            <a:r>
              <a:rPr lang="en-US" noProof="0" err="1"/>
              <a:t>lange</a:t>
            </a:r>
            <a:r>
              <a:rPr lang="en-US" noProof="0"/>
              <a:t> </a:t>
            </a:r>
            <a:r>
              <a:rPr lang="en-US" noProof="0" err="1"/>
              <a:t>Überschriften</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rtl="0">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lvl1pPr rtl="0">
              <a:defRPr/>
            </a:lvl1pPr>
          </a:lstStyle>
          <a:p>
            <a:r>
              <a:rPr lang="en-US"/>
              <a:t>Unrestricted | © Siemens 2023 | MACHINUM</a:t>
            </a:r>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E5D9D01-1C06-4B1C-81DF-1BC44FBDA4D9}"/>
              </a:ext>
            </a:extLst>
          </p:cNvPr>
          <p:cNvGraphicFramePr>
            <a:graphicFrameLocks noChangeAspect="1"/>
          </p:cNvGraphicFramePr>
          <p:nvPr userDrawn="1">
            <p:custDataLst>
              <p:tags r:id="rId1"/>
            </p:custDataLst>
            <p:extLst>
              <p:ext uri="{D42A27DB-BD31-4B8C-83A1-F6EECF244321}">
                <p14:modId xmlns:p14="http://schemas.microsoft.com/office/powerpoint/2010/main" val="120179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9E5D9D01-1C06-4B1C-81DF-1BC44FBDA4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324000" rtl="0">
              <a:lnSpc>
                <a:spcPct val="100000"/>
              </a:lnSpc>
              <a:defRPr sz="48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8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rtl="0">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noProof="0"/>
              <a:t>Subhead </a:t>
            </a:r>
            <a:r>
              <a:rPr lang="en-US" noProof="0" err="1"/>
              <a:t>für</a:t>
            </a:r>
            <a:r>
              <a:rPr lang="en-US" noProof="0"/>
              <a:t> </a:t>
            </a:r>
            <a:r>
              <a:rPr lang="en-US" noProof="0" err="1"/>
              <a:t>Titelgröße</a:t>
            </a:r>
            <a:r>
              <a:rPr lang="en-US" noProof="0"/>
              <a:t> 48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4EDF437-28DB-463A-81A5-C6900180BC8F}"/>
              </a:ext>
            </a:extLst>
          </p:cNvPr>
          <p:cNvGraphicFramePr>
            <a:graphicFrameLocks noChangeAspect="1"/>
          </p:cNvGraphicFramePr>
          <p:nvPr userDrawn="1">
            <p:custDataLst>
              <p:tags r:id="rId1"/>
            </p:custDataLst>
            <p:extLst>
              <p:ext uri="{D42A27DB-BD31-4B8C-83A1-F6EECF244321}">
                <p14:modId xmlns:p14="http://schemas.microsoft.com/office/powerpoint/2010/main" val="3716805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C4EDF437-28DB-463A-81A5-C6900180B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270000" rtl="0">
              <a:lnSpc>
                <a:spcPct val="100000"/>
              </a:lnSpc>
              <a:defRPr sz="4000">
                <a:solidFill>
                  <a:schemeClr val="tx1"/>
                </a:solidFill>
              </a:defRPr>
            </a:lvl1pPr>
          </a:lstStyle>
          <a:p>
            <a:r>
              <a:rPr lang="en-US" noProof="0" err="1"/>
              <a:t>Titelformat</a:t>
            </a:r>
            <a:r>
              <a:rPr lang="en-US" noProof="0"/>
              <a:t> </a:t>
            </a:r>
            <a:r>
              <a:rPr lang="en-US" noProof="0" err="1"/>
              <a:t>bearbeiten</a:t>
            </a:r>
            <a:br>
              <a:rPr lang="en-US" noProof="0"/>
            </a:br>
            <a:r>
              <a:rPr lang="en-US" noProof="0" err="1"/>
              <a:t>Titel</a:t>
            </a:r>
            <a:r>
              <a:rPr lang="en-US" noProof="0"/>
              <a:t> 40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rtl="0">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40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F8DA936-9C7E-4CD3-A939-B124A713B918}"/>
              </a:ext>
            </a:extLst>
          </p:cNvPr>
          <p:cNvGraphicFramePr>
            <a:graphicFrameLocks noChangeAspect="1"/>
          </p:cNvGraphicFramePr>
          <p:nvPr userDrawn="1">
            <p:custDataLst>
              <p:tags r:id="rId1"/>
            </p:custDataLst>
            <p:extLst>
              <p:ext uri="{D42A27DB-BD31-4B8C-83A1-F6EECF244321}">
                <p14:modId xmlns:p14="http://schemas.microsoft.com/office/powerpoint/2010/main" val="166512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8F8DA936-9C7E-4CD3-A939-B124A713B9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rtl="0">
              <a:buNone/>
              <a:defRPr>
                <a:solidFill>
                  <a:schemeClr val="tx1"/>
                </a:solidFill>
              </a:defRPr>
            </a:lvl1pPr>
          </a:lstStyle>
          <a:p>
            <a:r>
              <a:rPr lang="en-US" noProof="0" err="1"/>
              <a:t>Titelbild</a:t>
            </a:r>
            <a:endParaRPr lang="en-US" noProof="0"/>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1000" b="500"/>
            </a:stretch>
          </a:blipFill>
        </p:spPr>
        <p:txBody>
          <a:bodyPr vert="horz" rIns="0" bIns="0" anchor="t">
            <a:spAutoFit/>
          </a:bodyPr>
          <a:lstStyle>
            <a:lvl1pPr marL="252000" rtl="0">
              <a:lnSpc>
                <a:spcPct val="100000"/>
              </a:lnSpc>
              <a:defRPr sz="3600">
                <a:solidFill>
                  <a:schemeClr val="tx1"/>
                </a:solidFill>
              </a:defRPr>
            </a:lvl1pPr>
          </a:lstStyle>
          <a:p>
            <a:r>
              <a:rPr lang="en-US" noProof="0" err="1"/>
              <a:t>Titelformat</a:t>
            </a:r>
            <a:r>
              <a:rPr lang="en-US" noProof="0"/>
              <a:t> </a:t>
            </a:r>
            <a:r>
              <a:rPr lang="en-US" noProof="0" err="1"/>
              <a:t>bearbeiten</a:t>
            </a:r>
            <a:br>
              <a:rPr lang="en-US" noProof="0"/>
            </a:br>
            <a:r>
              <a:rPr lang="en-US" noProof="0"/>
              <a:t>3 </a:t>
            </a:r>
            <a:r>
              <a:rPr lang="en-US" noProof="0" err="1"/>
              <a:t>Zeilen</a:t>
            </a:r>
            <a:br>
              <a:rPr lang="en-US" noProof="0"/>
            </a:br>
            <a:r>
              <a:rPr lang="en-US" noProof="0" err="1"/>
              <a:t>Titel</a:t>
            </a:r>
            <a:r>
              <a:rPr lang="en-US" noProof="0"/>
              <a:t> 36 </a:t>
            </a:r>
            <a:r>
              <a:rPr lang="en-US" noProof="0" err="1"/>
              <a:t>pt</a:t>
            </a:r>
            <a:endParaRPr lang="en-US" noProof="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noProof="0"/>
              <a:t>Subhead </a:t>
            </a:r>
            <a:r>
              <a:rPr lang="en-US" noProof="0" err="1"/>
              <a:t>für</a:t>
            </a:r>
            <a:r>
              <a:rPr lang="en-US" noProof="0"/>
              <a:t> </a:t>
            </a:r>
            <a:r>
              <a:rPr lang="en-US" noProof="0" err="1"/>
              <a:t>Titelgröße</a:t>
            </a:r>
            <a:r>
              <a:rPr lang="en-US" noProof="0"/>
              <a:t> 36 </a:t>
            </a:r>
            <a:r>
              <a:rPr lang="en-US" noProof="0" err="1"/>
              <a:t>pt</a:t>
            </a:r>
            <a:endParaRPr lang="en-US" noProof="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lvl1pPr rtl="0">
              <a:defRPr/>
            </a:lvl1pPr>
          </a:lstStyle>
          <a:p>
            <a:r>
              <a:rPr lang="en-US"/>
              <a:t>Unrestricted | © Siemens 2023 | MACHINUM</a:t>
            </a:r>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9134E22-D03F-4674-AA1A-FB09D325854C}"/>
              </a:ext>
            </a:extLst>
          </p:cNvPr>
          <p:cNvGraphicFramePr>
            <a:graphicFrameLocks noChangeAspect="1"/>
          </p:cNvGraphicFramePr>
          <p:nvPr userDrawn="1">
            <p:custDataLst>
              <p:tags r:id="rId60"/>
            </p:custDataLst>
            <p:extLst>
              <p:ext uri="{D42A27DB-BD31-4B8C-83A1-F6EECF244321}">
                <p14:modId xmlns:p14="http://schemas.microsoft.com/office/powerpoint/2010/main" val="3179234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1" imgW="442" imgH="442" progId="TCLayout.ActiveDocument.1">
                  <p:embed/>
                </p:oleObj>
              </mc:Choice>
              <mc:Fallback>
                <p:oleObj name="think-cell Folie" r:id="rId61" imgW="442" imgH="442" progId="TCLayout.ActiveDocument.1">
                  <p:embed/>
                  <p:pic>
                    <p:nvPicPr>
                      <p:cNvPr id="7" name="Objekt 6" hidden="1">
                        <a:extLst>
                          <a:ext uri="{FF2B5EF4-FFF2-40B4-BE49-F238E27FC236}">
                            <a16:creationId xmlns:a16="http://schemas.microsoft.com/office/drawing/2014/main" id="{E9134E22-D03F-4674-AA1A-FB09D325854C}"/>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noProof="0" err="1"/>
              <a:t>Textmasterformat</a:t>
            </a:r>
            <a:r>
              <a:rPr lang="en-US" noProof="0"/>
              <a:t> </a:t>
            </a:r>
            <a:r>
              <a:rPr lang="en-US" noProof="0" err="1"/>
              <a:t>bearbeiten</a:t>
            </a:r>
            <a:endParaRPr lang="en-US" noProof="0"/>
          </a:p>
          <a:p>
            <a:pPr lvl="1"/>
            <a:r>
              <a:rPr lang="en-US" noProof="0" err="1"/>
              <a:t>Zweite</a:t>
            </a:r>
            <a:r>
              <a:rPr lang="en-US" noProof="0"/>
              <a:t> Ebene</a:t>
            </a:r>
          </a:p>
          <a:p>
            <a:pPr lvl="2"/>
            <a:r>
              <a:rPr lang="en-US" noProof="0" err="1"/>
              <a:t>Dritte</a:t>
            </a:r>
            <a:r>
              <a:rPr lang="en-US" noProof="0"/>
              <a:t> Ebene</a:t>
            </a:r>
          </a:p>
          <a:p>
            <a:pPr lvl="3"/>
            <a:r>
              <a:rPr lang="en-US" noProof="0" err="1"/>
              <a:t>Vierte</a:t>
            </a:r>
            <a:r>
              <a:rPr lang="en-US" noProof="0"/>
              <a:t> Ebene</a:t>
            </a:r>
          </a:p>
          <a:p>
            <a:pPr lvl="4"/>
            <a:r>
              <a:rPr lang="en-US" noProof="0" err="1"/>
              <a:t>Fünfte</a:t>
            </a:r>
            <a:r>
              <a:rPr lang="en-US" noProof="0"/>
              <a:t> Ebene</a:t>
            </a:r>
          </a:p>
          <a:p>
            <a:pPr lvl="5"/>
            <a:r>
              <a:rPr lang="en-US" noProof="0" err="1"/>
              <a:t>Sechste</a:t>
            </a:r>
            <a:r>
              <a:rPr lang="en-US" noProof="0"/>
              <a:t> Ebene</a:t>
            </a:r>
          </a:p>
          <a:p>
            <a:pPr lvl="6"/>
            <a:r>
              <a:rPr lang="en-US" noProof="0" err="1"/>
              <a:t>Siebente</a:t>
            </a:r>
            <a:r>
              <a:rPr lang="en-US" noProof="0"/>
              <a:t> Ebene</a:t>
            </a:r>
          </a:p>
          <a:p>
            <a:pPr lvl="7"/>
            <a:r>
              <a:rPr lang="en-US" noProof="0" err="1"/>
              <a:t>Achte</a:t>
            </a:r>
            <a:r>
              <a:rPr lang="en-US" noProof="0"/>
              <a:t> Ebene</a:t>
            </a:r>
          </a:p>
          <a:p>
            <a:pPr lvl="8"/>
            <a:r>
              <a:rPr lang="en-US" noProof="0" err="1"/>
              <a:t>Neunte</a:t>
            </a:r>
            <a:r>
              <a:rPr lang="en-US" noProof="0"/>
              <a:t> Ebene</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rtl="0">
              <a:lnSpc>
                <a:spcPct val="100000"/>
              </a:lnSpc>
              <a:defRPr sz="900">
                <a:solidFill>
                  <a:schemeClr val="tx1"/>
                </a:solidFill>
              </a:defRPr>
            </a:lvl1pPr>
          </a:lstStyle>
          <a:p>
            <a:r>
              <a:rPr lang="en-US"/>
              <a:t>Unrestricted | © Siemens 2023 | MACHINUM</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rtl="0">
              <a:lnSpc>
                <a:spcPct val="100000"/>
              </a:lnSpc>
              <a:defRPr sz="900" b="1">
                <a:solidFill>
                  <a:schemeClr val="tx1"/>
                </a:solidFill>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691" r:id="rId37"/>
    <p:sldLayoutId id="2147483751" r:id="rId38"/>
    <p:sldLayoutId id="2147483692" r:id="rId39"/>
    <p:sldLayoutId id="214748375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 id="2147483753" r:id="rId55"/>
    <p:sldLayoutId id="2147483754" r:id="rId56"/>
    <p:sldLayoutId id="2147483755" r:id="rId57"/>
    <p:sldLayoutId id="2147483756" r:id="rId58"/>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3.xml"/><Relationship Id="rId1" Type="http://schemas.openxmlformats.org/officeDocument/2006/relationships/tags" Target="../tags/tag66.x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60.bin"/></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84.xml"/><Relationship Id="rId7" Type="http://schemas.openxmlformats.org/officeDocument/2006/relationships/image" Target="../media/image46.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68.bin"/><Relationship Id="rId11" Type="http://schemas.openxmlformats.org/officeDocument/2006/relationships/image" Target="../media/image50.png"/><Relationship Id="rId5" Type="http://schemas.openxmlformats.org/officeDocument/2006/relationships/notesSlide" Target="../notesSlides/notesSlide10.xml"/><Relationship Id="rId10" Type="http://schemas.openxmlformats.org/officeDocument/2006/relationships/image" Target="../media/image49.png"/><Relationship Id="rId4" Type="http://schemas.openxmlformats.org/officeDocument/2006/relationships/slideLayout" Target="../slideLayouts/slideLayout33.xml"/><Relationship Id="rId9" Type="http://schemas.openxmlformats.org/officeDocument/2006/relationships/image" Target="../media/image48.png"/></Relationships>
</file>

<file path=ppt/slides/_rels/slide11.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53.png"/><Relationship Id="rId3" Type="http://schemas.openxmlformats.org/officeDocument/2006/relationships/tags" Target="../tags/tag87.xml"/><Relationship Id="rId7" Type="http://schemas.openxmlformats.org/officeDocument/2006/relationships/image" Target="../media/image35.emf"/><Relationship Id="rId12" Type="http://schemas.openxmlformats.org/officeDocument/2006/relationships/image" Target="../media/image52.png"/><Relationship Id="rId2" Type="http://schemas.openxmlformats.org/officeDocument/2006/relationships/tags" Target="../tags/tag86.xml"/><Relationship Id="rId16" Type="http://schemas.openxmlformats.org/officeDocument/2006/relationships/image" Target="../media/image33.png"/><Relationship Id="rId1" Type="http://schemas.openxmlformats.org/officeDocument/2006/relationships/tags" Target="../tags/tag85.xml"/><Relationship Id="rId6" Type="http://schemas.openxmlformats.org/officeDocument/2006/relationships/oleObject" Target="../embeddings/oleObject69.bin"/><Relationship Id="rId11" Type="http://schemas.openxmlformats.org/officeDocument/2006/relationships/image" Target="../media/image51.png"/><Relationship Id="rId5" Type="http://schemas.openxmlformats.org/officeDocument/2006/relationships/notesSlide" Target="../notesSlides/notesSlide11.xml"/><Relationship Id="rId15" Type="http://schemas.openxmlformats.org/officeDocument/2006/relationships/image" Target="../media/image55.svg"/><Relationship Id="rId10" Type="http://schemas.openxmlformats.org/officeDocument/2006/relationships/image" Target="../media/image7.svg"/><Relationship Id="rId4" Type="http://schemas.openxmlformats.org/officeDocument/2006/relationships/slideLayout" Target="../slideLayouts/slideLayout33.xml"/><Relationship Id="rId9" Type="http://schemas.openxmlformats.org/officeDocument/2006/relationships/image" Target="../media/image6.png"/><Relationship Id="rId14" Type="http://schemas.openxmlformats.org/officeDocument/2006/relationships/image" Target="../media/image5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56.emf"/><Relationship Id="rId5" Type="http://schemas.openxmlformats.org/officeDocument/2006/relationships/oleObject" Target="../embeddings/oleObject7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hyperlink" Target="https://www.siemens.com/industrialsecurity" TargetMode="External"/><Relationship Id="rId3" Type="http://schemas.openxmlformats.org/officeDocument/2006/relationships/tags" Target="../tags/tag92.xml"/><Relationship Id="rId7" Type="http://schemas.openxmlformats.org/officeDocument/2006/relationships/image" Target="../media/image57.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71.bin"/><Relationship Id="rId5" Type="http://schemas.openxmlformats.org/officeDocument/2006/relationships/notesSlide" Target="../notesSlides/notesSlide13.xml"/><Relationship Id="rId4"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3.xml"/><Relationship Id="rId7" Type="http://schemas.openxmlformats.org/officeDocument/2006/relationships/image" Target="../media/image35.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62.bin"/><Relationship Id="rId5" Type="http://schemas.openxmlformats.org/officeDocument/2006/relationships/image" Target="../media/image34.jpeg"/><Relationship Id="rId4" Type="http://schemas.openxmlformats.org/officeDocument/2006/relationships/notesSlide" Target="../notesSlides/notesSlide3.xml"/><Relationship Id="rId9"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72.xml"/><Relationship Id="rId7" Type="http://schemas.openxmlformats.org/officeDocument/2006/relationships/image" Target="../media/image35.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63.bin"/><Relationship Id="rId11" Type="http://schemas.openxmlformats.org/officeDocument/2006/relationships/image" Target="../media/image37.png"/><Relationship Id="rId5" Type="http://schemas.openxmlformats.org/officeDocument/2006/relationships/notesSlide" Target="../notesSlides/notesSlide4.xml"/><Relationship Id="rId10" Type="http://schemas.openxmlformats.org/officeDocument/2006/relationships/image" Target="../media/image7.svg"/><Relationship Id="rId4" Type="http://schemas.openxmlformats.org/officeDocument/2006/relationships/slideLayout" Target="../slideLayouts/slideLayout33.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75.xml"/><Relationship Id="rId7" Type="http://schemas.openxmlformats.org/officeDocument/2006/relationships/image" Target="../media/image35.emf"/><Relationship Id="rId12" Type="http://schemas.openxmlformats.org/officeDocument/2006/relationships/image" Target="../media/image24.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oleObject" Target="../embeddings/oleObject64.bin"/><Relationship Id="rId11" Type="http://schemas.openxmlformats.org/officeDocument/2006/relationships/image" Target="../media/image23.png"/><Relationship Id="rId5" Type="http://schemas.openxmlformats.org/officeDocument/2006/relationships/notesSlide" Target="../notesSlides/notesSlide5.xml"/><Relationship Id="rId10" Type="http://schemas.openxmlformats.org/officeDocument/2006/relationships/image" Target="../media/image39.png"/><Relationship Id="rId4" Type="http://schemas.openxmlformats.org/officeDocument/2006/relationships/slideLayout" Target="../slideLayouts/slideLayout33.xml"/><Relationship Id="rId9"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76.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3.xml"/><Relationship Id="rId1" Type="http://schemas.openxmlformats.org/officeDocument/2006/relationships/tags" Target="../tags/tag77.xml"/><Relationship Id="rId6" Type="http://schemas.openxmlformats.org/officeDocument/2006/relationships/image" Target="../media/image43.png"/><Relationship Id="rId5" Type="http://schemas.openxmlformats.org/officeDocument/2006/relationships/image" Target="../media/image32.emf"/><Relationship Id="rId4" Type="http://schemas.openxmlformats.org/officeDocument/2006/relationships/oleObject" Target="../embeddings/oleObject65.bin"/></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8.xml"/><Relationship Id="rId7" Type="http://schemas.openxmlformats.org/officeDocument/2006/relationships/image" Target="../media/image45.png"/><Relationship Id="rId2" Type="http://schemas.openxmlformats.org/officeDocument/2006/relationships/slideLayout" Target="../slideLayouts/slideLayout33.xml"/><Relationship Id="rId1" Type="http://schemas.openxmlformats.org/officeDocument/2006/relationships/tags" Target="../tags/tag78.xml"/><Relationship Id="rId6" Type="http://schemas.openxmlformats.org/officeDocument/2006/relationships/image" Target="../media/image44.png"/><Relationship Id="rId5" Type="http://schemas.openxmlformats.org/officeDocument/2006/relationships/image" Target="../media/image32.emf"/><Relationship Id="rId4" Type="http://schemas.openxmlformats.org/officeDocument/2006/relationships/oleObject" Target="../embeddings/oleObject66.bin"/><Relationship Id="rId9" Type="http://schemas.openxmlformats.org/officeDocument/2006/relationships/image" Target="../media/image24.svg"/></Relationships>
</file>

<file path=ppt/slides/_rels/slide9.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46.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67.bin"/><Relationship Id="rId5" Type="http://schemas.openxmlformats.org/officeDocument/2006/relationships/notesSlide" Target="../notesSlides/notesSlide9.xml"/><Relationship Id="rId4"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F9E719F-1CAF-022B-895C-3BE1829AE3BF}"/>
              </a:ext>
            </a:extLst>
          </p:cNvPr>
          <p:cNvGraphicFramePr>
            <a:graphicFrameLocks noChangeAspect="1"/>
          </p:cNvGraphicFramePr>
          <p:nvPr>
            <p:custDataLst>
              <p:tags r:id="rId1"/>
            </p:custDataLst>
            <p:extLst>
              <p:ext uri="{D42A27DB-BD31-4B8C-83A1-F6EECF244321}">
                <p14:modId xmlns:p14="http://schemas.microsoft.com/office/powerpoint/2010/main" val="386736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9" name="Objekt 8" hidden="1">
                        <a:extLst>
                          <a:ext uri="{FF2B5EF4-FFF2-40B4-BE49-F238E27FC236}">
                            <a16:creationId xmlns:a16="http://schemas.microsoft.com/office/drawing/2014/main" id="{5F9E719F-1CAF-022B-895C-3BE1829AE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CC8D8B9-32DF-4774-8291-E56ECA4EF7EF}"/>
              </a:ext>
            </a:extLst>
          </p:cNvPr>
          <p:cNvSpPr/>
          <p:nvPr/>
        </p:nvSpPr>
        <p:spPr>
          <a:xfrm>
            <a:off x="0" y="0"/>
            <a:ext cx="7592602" cy="61815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 name="Rectangle 7">
            <a:extLst>
              <a:ext uri="{FF2B5EF4-FFF2-40B4-BE49-F238E27FC236}">
                <a16:creationId xmlns:a16="http://schemas.microsoft.com/office/drawing/2014/main" id="{DCF35E38-EB7D-453C-8BF9-70680911CF1F}"/>
              </a:ext>
            </a:extLst>
          </p:cNvPr>
          <p:cNvSpPr/>
          <p:nvPr/>
        </p:nvSpPr>
        <p:spPr>
          <a:xfrm>
            <a:off x="8041487" y="1054100"/>
            <a:ext cx="3744913" cy="4330075"/>
          </a:xfrm>
          <a:prstGeom prst="rect">
            <a:avLst/>
          </a:prstGeom>
        </p:spPr>
        <p:txBody>
          <a:bodyPr wrap="square" lIns="0" tIns="45720" rIns="91440" bIns="45720" anchor="t">
            <a:noAutofit/>
          </a:bodyPr>
          <a:lstStyle/>
          <a:p>
            <a:pPr>
              <a:spcBef>
                <a:spcPts val="600"/>
              </a:spcBef>
            </a:pPr>
            <a:r>
              <a:rPr lang="de-DE" b="1" dirty="0">
                <a:latin typeface="Arial"/>
                <a:ea typeface="Arial Unicode MS"/>
                <a:cs typeface="Arial Unicode MS"/>
              </a:rPr>
              <a:t>Challenge:</a:t>
            </a:r>
            <a:br>
              <a:rPr lang="de-DE" b="1" dirty="0">
                <a:latin typeface="Arial" pitchFamily="34" charset="0"/>
                <a:ea typeface="Arial Unicode MS" panose="020B0604020202020204" pitchFamily="34" charset="-128"/>
                <a:cs typeface="Arial Unicode MS" panose="020B0604020202020204" pitchFamily="34" charset="-128"/>
              </a:rPr>
            </a:br>
            <a:r>
              <a:rPr lang="en-US" dirty="0">
                <a:latin typeface="Arial"/>
                <a:ea typeface="Arial Unicode MS"/>
                <a:cs typeface="Arial Unicode MS"/>
              </a:rPr>
              <a:t>Feed rate dips resulted in defective parts due to the technology used. </a:t>
            </a:r>
            <a:br>
              <a:rPr lang="en-US" dirty="0">
                <a:latin typeface="Arial" pitchFamily="34" charset="0"/>
                <a:ea typeface="Arial Unicode MS" panose="020B0604020202020204" pitchFamily="34" charset="-128"/>
                <a:cs typeface="Arial Unicode MS" panose="020B0604020202020204" pitchFamily="34" charset="-128"/>
              </a:rPr>
            </a:br>
            <a:r>
              <a:rPr lang="en-US" dirty="0">
                <a:latin typeface="Arial"/>
                <a:ea typeface="Arial Unicode MS"/>
                <a:cs typeface="Arial Unicode MS"/>
              </a:rPr>
              <a:t>In addition, sharp jumps in speed led to contour violations.</a:t>
            </a:r>
            <a:br>
              <a:rPr lang="de-DE" dirty="0">
                <a:latin typeface="Arial" pitchFamily="34" charset="0"/>
                <a:ea typeface="Arial Unicode MS" panose="020B0604020202020204" pitchFamily="34" charset="-128"/>
                <a:cs typeface="Arial Unicode MS" panose="020B0604020202020204" pitchFamily="34" charset="-128"/>
              </a:rPr>
            </a:br>
            <a:endParaRPr lang="de-DE" sz="800" b="1" dirty="0">
              <a:latin typeface="Arial" pitchFamily="34" charset="0"/>
              <a:ea typeface="Arial Unicode MS" panose="020B0604020202020204" pitchFamily="34" charset="-128"/>
              <a:cs typeface="Arial Unicode MS" panose="020B0604020202020204" pitchFamily="34" charset="-128"/>
            </a:endParaRPr>
          </a:p>
          <a:p>
            <a:pPr>
              <a:spcBef>
                <a:spcPts val="600"/>
              </a:spcBef>
            </a:pPr>
            <a:br>
              <a:rPr lang="de-DE" b="1" dirty="0">
                <a:latin typeface="Arial" pitchFamily="34" charset="0"/>
                <a:ea typeface="Arial Unicode MS" panose="020B0604020202020204" pitchFamily="34" charset="-128"/>
                <a:cs typeface="Arial Unicode MS" panose="020B0604020202020204" pitchFamily="34" charset="-128"/>
              </a:rPr>
            </a:br>
            <a:r>
              <a:rPr lang="de-DE" b="1" dirty="0">
                <a:latin typeface="Arial" pitchFamily="34" charset="0"/>
                <a:ea typeface="Arial Unicode MS" panose="020B0604020202020204" pitchFamily="34" charset="-128"/>
                <a:cs typeface="Arial Unicode MS" panose="020B0604020202020204" pitchFamily="34" charset="-128"/>
              </a:rPr>
              <a:t>Solution</a:t>
            </a:r>
            <a:br>
              <a:rPr lang="de-DE" b="1" dirty="0">
                <a:latin typeface="Arial" pitchFamily="34" charset="0"/>
                <a:ea typeface="Arial Unicode MS" panose="020B0604020202020204" pitchFamily="34" charset="-128"/>
                <a:cs typeface="Arial Unicode MS" panose="020B0604020202020204" pitchFamily="34" charset="-128"/>
              </a:rPr>
            </a:br>
            <a:r>
              <a:rPr lang="de-DE" b="1" dirty="0">
                <a:solidFill>
                  <a:srgbClr val="009999"/>
                </a:solidFill>
                <a:latin typeface="Arial" pitchFamily="34" charset="0"/>
                <a:ea typeface="ＭＳ Ｐゴシック" charset="-128"/>
              </a:rPr>
              <a:t>Analyze MyWorkpiece /Toolpath </a:t>
            </a:r>
          </a:p>
          <a:p>
            <a:pPr>
              <a:spcBef>
                <a:spcPts val="600"/>
              </a:spcBef>
            </a:pPr>
            <a:r>
              <a:rPr lang="de-DE" b="0" i="0" dirty="0" err="1">
                <a:effectLst/>
                <a:latin typeface="+mj-lt"/>
              </a:rPr>
              <a:t>Identify</a:t>
            </a:r>
            <a:r>
              <a:rPr lang="de-DE" b="0" i="0" dirty="0">
                <a:effectLst/>
                <a:latin typeface="+mj-lt"/>
              </a:rPr>
              <a:t> </a:t>
            </a:r>
            <a:r>
              <a:rPr lang="de-DE" dirty="0" err="1">
                <a:latin typeface="+mj-lt"/>
              </a:rPr>
              <a:t>defects</a:t>
            </a:r>
            <a:r>
              <a:rPr lang="de-DE" dirty="0">
                <a:latin typeface="+mj-lt"/>
              </a:rPr>
              <a:t> on </a:t>
            </a:r>
            <a:r>
              <a:rPr lang="de-DE" dirty="0" err="1">
                <a:latin typeface="+mj-lt"/>
              </a:rPr>
              <a:t>the</a:t>
            </a:r>
            <a:r>
              <a:rPr lang="de-DE" dirty="0">
                <a:latin typeface="+mj-lt"/>
              </a:rPr>
              <a:t> </a:t>
            </a:r>
            <a:r>
              <a:rPr lang="de-DE" dirty="0" err="1">
                <a:latin typeface="+mj-lt"/>
              </a:rPr>
              <a:t>workpiece</a:t>
            </a:r>
            <a:r>
              <a:rPr lang="de-DE" dirty="0">
                <a:latin typeface="+mj-lt"/>
              </a:rPr>
              <a:t> – </a:t>
            </a:r>
            <a:r>
              <a:rPr lang="de-DE" dirty="0" err="1">
                <a:latin typeface="+mj-lt"/>
              </a:rPr>
              <a:t>from</a:t>
            </a:r>
            <a:r>
              <a:rPr lang="de-DE" dirty="0">
                <a:latin typeface="+mj-lt"/>
              </a:rPr>
              <a:t> </a:t>
            </a:r>
            <a:r>
              <a:rPr lang="de-DE" b="0" i="0" dirty="0">
                <a:effectLst/>
                <a:latin typeface="+mj-lt"/>
              </a:rPr>
              <a:t>design and </a:t>
            </a:r>
            <a:r>
              <a:rPr lang="de-DE" b="0" i="0" dirty="0" err="1">
                <a:effectLst/>
                <a:latin typeface="+mj-lt"/>
              </a:rPr>
              <a:t>programming</a:t>
            </a:r>
            <a:r>
              <a:rPr lang="de-DE" b="0" i="0" dirty="0">
                <a:effectLst/>
                <a:latin typeface="+mj-lt"/>
              </a:rPr>
              <a:t> down </a:t>
            </a:r>
            <a:r>
              <a:rPr lang="de-DE" b="0" i="0" dirty="0" err="1">
                <a:effectLst/>
                <a:latin typeface="+mj-lt"/>
              </a:rPr>
              <a:t>to</a:t>
            </a:r>
            <a:r>
              <a:rPr lang="de-DE" b="0" i="0" dirty="0">
                <a:effectLst/>
                <a:latin typeface="+mj-lt"/>
              </a:rPr>
              <a:t> </a:t>
            </a:r>
            <a:r>
              <a:rPr lang="de-DE" b="0" i="0" dirty="0" err="1">
                <a:effectLst/>
                <a:latin typeface="+mj-lt"/>
              </a:rPr>
              <a:t>processing</a:t>
            </a:r>
            <a:r>
              <a:rPr lang="de-DE" b="0" i="0" dirty="0">
                <a:effectLst/>
                <a:latin typeface="+mj-lt"/>
              </a:rPr>
              <a:t> on </a:t>
            </a:r>
            <a:r>
              <a:rPr lang="de-DE" b="0" i="0" dirty="0" err="1">
                <a:effectLst/>
                <a:latin typeface="+mj-lt"/>
              </a:rPr>
              <a:t>the</a:t>
            </a:r>
            <a:r>
              <a:rPr lang="de-DE" b="0" i="0" dirty="0">
                <a:effectLst/>
                <a:latin typeface="+mj-lt"/>
              </a:rPr>
              <a:t> </a:t>
            </a:r>
            <a:r>
              <a:rPr lang="de-DE" b="0" i="0" dirty="0" err="1">
                <a:effectLst/>
                <a:latin typeface="+mj-lt"/>
              </a:rPr>
              <a:t>machine</a:t>
            </a:r>
            <a:r>
              <a:rPr lang="de-DE" b="0" i="0" dirty="0">
                <a:effectLst/>
                <a:latin typeface="+mj-lt"/>
              </a:rPr>
              <a:t>.</a:t>
            </a:r>
            <a:endParaRPr lang="de-DE" dirty="0">
              <a:latin typeface="+mj-lt"/>
              <a:ea typeface="ＭＳ Ｐゴシック" charset="-128"/>
            </a:endParaRPr>
          </a:p>
        </p:txBody>
      </p:sp>
      <p:sp>
        <p:nvSpPr>
          <p:cNvPr id="22" name="Title 2">
            <a:extLst>
              <a:ext uri="{FF2B5EF4-FFF2-40B4-BE49-F238E27FC236}">
                <a16:creationId xmlns:a16="http://schemas.microsoft.com/office/drawing/2014/main" id="{F8614E97-32F8-4D21-A327-E68A1A06C7C4}"/>
              </a:ext>
            </a:extLst>
          </p:cNvPr>
          <p:cNvSpPr txBox="1">
            <a:spLocks/>
          </p:cNvSpPr>
          <p:nvPr/>
        </p:nvSpPr>
        <p:spPr>
          <a:xfrm>
            <a:off x="735162" y="1639459"/>
            <a:ext cx="6035752" cy="3075406"/>
          </a:xfrm>
          <a:prstGeom prst="rect">
            <a:avLst/>
          </a:prstGeom>
          <a:noFill/>
        </p:spPr>
        <p:txBody>
          <a:bodyPr vert="horz" wrap="square" lIns="0" tIns="0" rIns="0" bIns="0" rtlCol="0" anchor="t" anchorCtr="0">
            <a:noAutofit/>
          </a:bodyPr>
          <a:lstStyle>
            <a:lvl1pPr marL="0"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pPr>
              <a:lnSpc>
                <a:spcPct val="90000"/>
              </a:lnSpc>
            </a:pPr>
            <a:r>
              <a:rPr lang="de-DE" sz="2000" dirty="0">
                <a:solidFill>
                  <a:schemeClr val="bg1"/>
                </a:solidFill>
              </a:rPr>
              <a:t>"By </a:t>
            </a:r>
            <a:r>
              <a:rPr lang="de-DE" sz="2000" dirty="0" err="1">
                <a:solidFill>
                  <a:schemeClr val="bg1"/>
                </a:solidFill>
              </a:rPr>
              <a:t>using</a:t>
            </a:r>
            <a:r>
              <a:rPr lang="de-DE" sz="2000" dirty="0">
                <a:solidFill>
                  <a:schemeClr val="bg1"/>
                </a:solidFill>
              </a:rPr>
              <a:t> Analyze MyWorkpiece /Toolpath, </a:t>
            </a:r>
            <a:r>
              <a:rPr lang="de-DE" sz="2000" dirty="0" err="1">
                <a:solidFill>
                  <a:schemeClr val="bg1"/>
                </a:solidFill>
              </a:rPr>
              <a:t>we</a:t>
            </a:r>
            <a:r>
              <a:rPr lang="de-DE" sz="2000" dirty="0">
                <a:solidFill>
                  <a:schemeClr val="bg1"/>
                </a:solidFill>
              </a:rPr>
              <a:t> </a:t>
            </a:r>
            <a:r>
              <a:rPr lang="de-DE" sz="2000" dirty="0" err="1">
                <a:solidFill>
                  <a:schemeClr val="bg1"/>
                </a:solidFill>
              </a:rPr>
              <a:t>were</a:t>
            </a:r>
            <a:r>
              <a:rPr lang="de-DE" sz="2000" dirty="0">
                <a:solidFill>
                  <a:schemeClr val="bg1"/>
                </a:solidFill>
              </a:rPr>
              <a:t> </a:t>
            </a:r>
            <a:r>
              <a:rPr lang="de-DE" sz="2000" dirty="0" err="1">
                <a:solidFill>
                  <a:schemeClr val="bg1"/>
                </a:solidFill>
              </a:rPr>
              <a:t>able</a:t>
            </a:r>
            <a:r>
              <a:rPr lang="de-DE" sz="2000" dirty="0">
                <a:solidFill>
                  <a:schemeClr val="bg1"/>
                </a:solidFill>
              </a:rPr>
              <a:t> </a:t>
            </a:r>
            <a:r>
              <a:rPr lang="de-DE" sz="2000" dirty="0" err="1">
                <a:solidFill>
                  <a:schemeClr val="bg1"/>
                </a:solidFill>
              </a:rPr>
              <a:t>to</a:t>
            </a:r>
            <a:r>
              <a:rPr lang="de-DE" sz="2000" dirty="0">
                <a:solidFill>
                  <a:schemeClr val="bg1"/>
                </a:solidFill>
              </a:rPr>
              <a:t> </a:t>
            </a:r>
            <a:r>
              <a:rPr lang="de-DE" sz="2000" dirty="0" err="1">
                <a:solidFill>
                  <a:schemeClr val="bg1"/>
                </a:solidFill>
              </a:rPr>
              <a:t>significantly</a:t>
            </a:r>
            <a:r>
              <a:rPr lang="de-DE" sz="2000" dirty="0">
                <a:solidFill>
                  <a:schemeClr val="bg1"/>
                </a:solidFill>
              </a:rPr>
              <a:t> </a:t>
            </a:r>
            <a:r>
              <a:rPr lang="de-DE" sz="2000" dirty="0" err="1">
                <a:solidFill>
                  <a:schemeClr val="bg1"/>
                </a:solidFill>
              </a:rPr>
              <a:t>improve</a:t>
            </a:r>
            <a:r>
              <a:rPr lang="de-DE" sz="2000" dirty="0">
                <a:solidFill>
                  <a:schemeClr val="bg1"/>
                </a:solidFill>
              </a:rPr>
              <a:t> </a:t>
            </a:r>
            <a:r>
              <a:rPr lang="de-DE" sz="2000" dirty="0" err="1">
                <a:solidFill>
                  <a:schemeClr val="bg1"/>
                </a:solidFill>
              </a:rPr>
              <a:t>cycle</a:t>
            </a:r>
            <a:r>
              <a:rPr lang="de-DE" sz="2000" dirty="0">
                <a:solidFill>
                  <a:schemeClr val="bg1"/>
                </a:solidFill>
              </a:rPr>
              <a:t> time and, </a:t>
            </a:r>
            <a:br>
              <a:rPr lang="de-DE" sz="2000" dirty="0">
                <a:solidFill>
                  <a:schemeClr val="bg1"/>
                </a:solidFill>
              </a:rPr>
            </a:br>
            <a:r>
              <a:rPr lang="de-DE" sz="2000" dirty="0" err="1">
                <a:solidFill>
                  <a:schemeClr val="bg1"/>
                </a:solidFill>
              </a:rPr>
              <a:t>above</a:t>
            </a:r>
            <a:r>
              <a:rPr lang="de-DE" sz="2000" dirty="0">
                <a:solidFill>
                  <a:schemeClr val="bg1"/>
                </a:solidFill>
              </a:rPr>
              <a:t> all, </a:t>
            </a:r>
            <a:r>
              <a:rPr lang="de-DE" sz="2000" dirty="0" err="1">
                <a:solidFill>
                  <a:schemeClr val="bg1"/>
                </a:solidFill>
              </a:rPr>
              <a:t>process</a:t>
            </a:r>
            <a:r>
              <a:rPr lang="de-DE" sz="2000" dirty="0">
                <a:solidFill>
                  <a:schemeClr val="bg1"/>
                </a:solidFill>
              </a:rPr>
              <a:t> </a:t>
            </a:r>
            <a:r>
              <a:rPr lang="de-DE" sz="2000" dirty="0" err="1">
                <a:solidFill>
                  <a:schemeClr val="bg1"/>
                </a:solidFill>
              </a:rPr>
              <a:t>reliability</a:t>
            </a:r>
            <a:r>
              <a:rPr lang="de-DE" sz="2000" dirty="0">
                <a:solidFill>
                  <a:schemeClr val="bg1"/>
                </a:solidFill>
              </a:rPr>
              <a:t>.</a:t>
            </a:r>
            <a:br>
              <a:rPr lang="de-DE" sz="2000" dirty="0">
                <a:solidFill>
                  <a:schemeClr val="bg1"/>
                </a:solidFill>
              </a:rPr>
            </a:br>
            <a:endParaRPr lang="de-DE" sz="2000" dirty="0">
              <a:solidFill>
                <a:schemeClr val="bg1"/>
              </a:solidFill>
            </a:endParaRPr>
          </a:p>
          <a:p>
            <a:pPr>
              <a:lnSpc>
                <a:spcPct val="90000"/>
              </a:lnSpc>
            </a:pPr>
            <a:r>
              <a:rPr lang="en-US" sz="2000" dirty="0">
                <a:solidFill>
                  <a:schemeClr val="bg1"/>
                </a:solidFill>
              </a:rPr>
              <a:t>Thanks to the in-depth analysis capabilities, no plant resources are wasted.</a:t>
            </a:r>
            <a:br>
              <a:rPr lang="en-US" sz="2000" dirty="0">
                <a:solidFill>
                  <a:schemeClr val="bg1"/>
                </a:solidFill>
              </a:rPr>
            </a:br>
            <a:br>
              <a:rPr lang="en-US" sz="2000" dirty="0">
                <a:solidFill>
                  <a:schemeClr val="bg1"/>
                </a:solidFill>
              </a:rPr>
            </a:br>
            <a:r>
              <a:rPr lang="en-US" sz="2000" dirty="0">
                <a:solidFill>
                  <a:schemeClr val="bg1"/>
                </a:solidFill>
              </a:rPr>
              <a:t>The interaction with the digital twin of our </a:t>
            </a:r>
            <a:r>
              <a:rPr lang="en-US" sz="2000" dirty="0" err="1">
                <a:solidFill>
                  <a:schemeClr val="bg1"/>
                </a:solidFill>
              </a:rPr>
              <a:t>AMCube</a:t>
            </a:r>
            <a:r>
              <a:rPr lang="en-US" sz="2000" dirty="0">
                <a:solidFill>
                  <a:schemeClr val="bg1"/>
                </a:solidFill>
              </a:rPr>
              <a:t> quickly led to approaches so that our code generation could be optimized for the machine</a:t>
            </a:r>
            <a:r>
              <a:rPr lang="de-DE" sz="2000" dirty="0">
                <a:solidFill>
                  <a:schemeClr val="bg1"/>
                </a:solidFill>
              </a:rPr>
              <a:t>."</a:t>
            </a:r>
            <a:br>
              <a:rPr lang="de-DE" sz="2400" dirty="0">
                <a:solidFill>
                  <a:schemeClr val="bg1"/>
                </a:solidFill>
              </a:rPr>
            </a:br>
            <a:br>
              <a:rPr lang="en-US" sz="900" dirty="0">
                <a:solidFill>
                  <a:schemeClr val="bg1"/>
                </a:solidFill>
              </a:rPr>
            </a:br>
            <a:endParaRPr lang="en-US" sz="1800" b="0" dirty="0">
              <a:solidFill>
                <a:schemeClr val="bg1"/>
              </a:solidFill>
            </a:endParaRPr>
          </a:p>
        </p:txBody>
      </p:sp>
      <p:sp>
        <p:nvSpPr>
          <p:cNvPr id="23" name="Title 5">
            <a:extLst>
              <a:ext uri="{FF2B5EF4-FFF2-40B4-BE49-F238E27FC236}">
                <a16:creationId xmlns:a16="http://schemas.microsoft.com/office/drawing/2014/main" id="{1E4AD0FC-E4E3-42BA-9329-5835A179F9A4}"/>
              </a:ext>
            </a:extLst>
          </p:cNvPr>
          <p:cNvSpPr txBox="1">
            <a:spLocks/>
          </p:cNvSpPr>
          <p:nvPr/>
        </p:nvSpPr>
        <p:spPr>
          <a:xfrm>
            <a:off x="735162" y="1042260"/>
            <a:ext cx="6156275" cy="276999"/>
          </a:xfrm>
          <a:prstGeom prst="rect">
            <a:avLst/>
          </a:prstGeom>
          <a:noFill/>
        </p:spPr>
        <p:txBody>
          <a:bodyPr vert="horz" wrap="square" lIns="0" tIns="0" rIns="0" bIns="0" rtlCol="0" anchor="t" anchorCtr="0">
            <a:spAutoFit/>
          </a:bodyPr>
          <a:lstStyle>
            <a:lvl1pPr marL="0" algn="l" defTabSz="914400" rtl="0" eaLnBrk="1" latinLnBrk="0" hangingPunct="1">
              <a:lnSpc>
                <a:spcPct val="100000"/>
              </a:lnSpc>
              <a:spcBef>
                <a:spcPct val="0"/>
              </a:spcBef>
              <a:buNone/>
              <a:defRPr sz="4800" b="1" kern="1200">
                <a:solidFill>
                  <a:schemeClr val="tx1"/>
                </a:solidFill>
                <a:latin typeface="+mj-lt"/>
                <a:ea typeface="+mj-ea"/>
                <a:cs typeface="+mj-cs"/>
              </a:defRPr>
            </a:lvl1pPr>
          </a:lstStyle>
          <a:p>
            <a:r>
              <a:rPr lang="en-US" sz="1800">
                <a:solidFill>
                  <a:schemeClr val="bg2"/>
                </a:solidFill>
              </a:rPr>
              <a:t>Chiron Group SE:</a:t>
            </a:r>
          </a:p>
        </p:txBody>
      </p:sp>
      <p:pic>
        <p:nvPicPr>
          <p:cNvPr id="24" name="Grafik 23">
            <a:extLst>
              <a:ext uri="{FF2B5EF4-FFF2-40B4-BE49-F238E27FC236}">
                <a16:creationId xmlns:a16="http://schemas.microsoft.com/office/drawing/2014/main" id="{730C3939-0682-4B6D-96B6-FE837DCFF332}"/>
              </a:ext>
            </a:extLst>
          </p:cNvPr>
          <p:cNvPicPr>
            <a:picLocks noChangeAspect="1"/>
          </p:cNvPicPr>
          <p:nvPr/>
        </p:nvPicPr>
        <p:blipFill>
          <a:blip r:embed="rId6"/>
          <a:stretch>
            <a:fillRect/>
          </a:stretch>
        </p:blipFill>
        <p:spPr>
          <a:xfrm>
            <a:off x="6074445" y="4844071"/>
            <a:ext cx="1161733" cy="1080207"/>
          </a:xfrm>
          <a:prstGeom prst="rect">
            <a:avLst/>
          </a:prstGeom>
        </p:spPr>
      </p:pic>
      <p:sp>
        <p:nvSpPr>
          <p:cNvPr id="2" name="Fußzeilenplatzhalter 7">
            <a:extLst>
              <a:ext uri="{FF2B5EF4-FFF2-40B4-BE49-F238E27FC236}">
                <a16:creationId xmlns:a16="http://schemas.microsoft.com/office/drawing/2014/main" id="{85AF2D14-0DA1-51B8-6761-55DB8C39C3D8}"/>
              </a:ext>
            </a:extLst>
          </p:cNvPr>
          <p:cNvSpPr>
            <a:spLocks noGrp="1"/>
          </p:cNvSpPr>
          <p:nvPr>
            <p:ph type="ftr" sz="quarter" idx="10"/>
          </p:nvPr>
        </p:nvSpPr>
        <p:spPr/>
        <p:txBody>
          <a:bodyPr/>
          <a:lstStyle/>
          <a:p>
            <a:r>
              <a:rPr lang="en-US" noProof="0"/>
              <a:t>Unrestricted | © Siemens 2023 | MACHINUM</a:t>
            </a:r>
          </a:p>
        </p:txBody>
      </p:sp>
      <p:sp>
        <p:nvSpPr>
          <p:cNvPr id="6" name="Foliennummernplatzhalter 8">
            <a:extLst>
              <a:ext uri="{FF2B5EF4-FFF2-40B4-BE49-F238E27FC236}">
                <a16:creationId xmlns:a16="http://schemas.microsoft.com/office/drawing/2014/main" id="{B5093E6F-15BB-9B57-BDA6-B72884CA7A03}"/>
              </a:ext>
            </a:extLst>
          </p:cNvPr>
          <p:cNvSpPr>
            <a:spLocks noGrp="1"/>
          </p:cNvSpPr>
          <p:nvPr>
            <p:ph type="sldNum" sz="quarter" idx="11"/>
          </p:nvPr>
        </p:nvSpPr>
        <p:spPr/>
        <p:txBody>
          <a:bodyPr/>
          <a:lstStyle/>
          <a:p>
            <a:r>
              <a:rPr lang="en-US" noProof="0"/>
              <a:t>Page </a:t>
            </a:r>
            <a:fld id="{15EBE321-CBB1-4E91-BD14-37C8D44326FB}" type="slidenum">
              <a:rPr lang="en-US" noProof="0" smtClean="0"/>
              <a:pPr/>
              <a:t>1</a:t>
            </a:fld>
            <a:endParaRPr lang="en-US" noProof="0"/>
          </a:p>
        </p:txBody>
      </p:sp>
      <p:sp>
        <p:nvSpPr>
          <p:cNvPr id="3" name="Rechteck 2">
            <a:extLst>
              <a:ext uri="{FF2B5EF4-FFF2-40B4-BE49-F238E27FC236}">
                <a16:creationId xmlns:a16="http://schemas.microsoft.com/office/drawing/2014/main" id="{AE963E2C-9ADD-F69A-50A1-978D0A972493}"/>
              </a:ext>
            </a:extLst>
          </p:cNvPr>
          <p:cNvSpPr/>
          <p:nvPr/>
        </p:nvSpPr>
        <p:spPr>
          <a:xfrm>
            <a:off x="8041487" y="4934499"/>
            <a:ext cx="3649770" cy="1247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dirty="0"/>
          </a:p>
        </p:txBody>
      </p:sp>
      <p:sp>
        <p:nvSpPr>
          <p:cNvPr id="4" name="Textfeld 3">
            <a:extLst>
              <a:ext uri="{FF2B5EF4-FFF2-40B4-BE49-F238E27FC236}">
                <a16:creationId xmlns:a16="http://schemas.microsoft.com/office/drawing/2014/main" id="{9A661F40-FE58-7F23-F413-28C630E160D2}"/>
              </a:ext>
            </a:extLst>
          </p:cNvPr>
          <p:cNvSpPr txBox="1"/>
          <p:nvPr/>
        </p:nvSpPr>
        <p:spPr>
          <a:xfrm>
            <a:off x="8332409" y="5161551"/>
            <a:ext cx="1866969" cy="830997"/>
          </a:xfrm>
          <a:prstGeom prst="rect">
            <a:avLst/>
          </a:prstGeom>
          <a:noFill/>
        </p:spPr>
        <p:txBody>
          <a:bodyPr wrap="square" lIns="0" tIns="0" rIns="0" bIns="0" rtlCol="0">
            <a:spAutoFit/>
          </a:bodyPr>
          <a:lstStyle/>
          <a:p>
            <a:pPr algn="l"/>
            <a:r>
              <a:rPr lang="en-US" sz="1800" dirty="0">
                <a:effectLst/>
                <a:latin typeface="+mj-lt"/>
                <a:ea typeface="Times New Roman" panose="02020603050405020304" pitchFamily="18" charset="0"/>
              </a:rPr>
              <a:t>Error-parts on the actual machine were reduced by</a:t>
            </a:r>
            <a:endParaRPr lang="de-DE" dirty="0" err="1">
              <a:latin typeface="+mj-lt"/>
            </a:endParaRPr>
          </a:p>
        </p:txBody>
      </p:sp>
      <p:sp>
        <p:nvSpPr>
          <p:cNvPr id="10" name="Textfeld 9">
            <a:extLst>
              <a:ext uri="{FF2B5EF4-FFF2-40B4-BE49-F238E27FC236}">
                <a16:creationId xmlns:a16="http://schemas.microsoft.com/office/drawing/2014/main" id="{8F61214A-12B0-0D57-5AEC-CA84ECA5713A}"/>
              </a:ext>
            </a:extLst>
          </p:cNvPr>
          <p:cNvSpPr txBox="1"/>
          <p:nvPr/>
        </p:nvSpPr>
        <p:spPr>
          <a:xfrm>
            <a:off x="10294521" y="5050214"/>
            <a:ext cx="1197429" cy="1015663"/>
          </a:xfrm>
          <a:prstGeom prst="rect">
            <a:avLst/>
          </a:prstGeom>
          <a:noFill/>
        </p:spPr>
        <p:txBody>
          <a:bodyPr wrap="square">
            <a:spAutoFit/>
          </a:bodyPr>
          <a:lstStyle/>
          <a:p>
            <a:r>
              <a:rPr lang="en-US" sz="2400" b="1" dirty="0">
                <a:solidFill>
                  <a:schemeClr val="accent1"/>
                </a:solidFill>
                <a:effectLst/>
                <a:latin typeface="Calibri" panose="020F0502020204030204" pitchFamily="34" charset="0"/>
                <a:ea typeface="Times New Roman" panose="02020603050405020304" pitchFamily="18" charset="0"/>
              </a:rPr>
              <a:t>up to </a:t>
            </a:r>
            <a:r>
              <a:rPr lang="en-US" sz="3600" b="1" dirty="0">
                <a:solidFill>
                  <a:schemeClr val="accent1"/>
                </a:solidFill>
                <a:effectLst/>
                <a:latin typeface="Calibri" panose="020F0502020204030204" pitchFamily="34" charset="0"/>
                <a:ea typeface="Times New Roman" panose="02020603050405020304" pitchFamily="18" charset="0"/>
              </a:rPr>
              <a:t>99% </a:t>
            </a:r>
            <a:endParaRPr lang="de-DE" sz="2800" b="1" dirty="0">
              <a:solidFill>
                <a:schemeClr val="accent1"/>
              </a:solidFill>
            </a:endParaRPr>
          </a:p>
        </p:txBody>
      </p:sp>
    </p:spTree>
    <p:extLst>
      <p:ext uri="{BB962C8B-B14F-4D97-AF65-F5344CB8AC3E}">
        <p14:creationId xmlns:p14="http://schemas.microsoft.com/office/powerpoint/2010/main" val="3885868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kt 116" hidden="1"/>
          <p:cNvGraphicFramePr>
            <a:graphicFrameLocks noChangeAspect="1"/>
          </p:cNvGraphicFramePr>
          <p:nvPr>
            <p:custDataLst>
              <p:tags r:id="rId2"/>
            </p:custDataLst>
            <p:extLst>
              <p:ext uri="{D42A27DB-BD31-4B8C-83A1-F6EECF244321}">
                <p14:modId xmlns:p14="http://schemas.microsoft.com/office/powerpoint/2010/main" val="2467665487"/>
              </p:ext>
            </p:ext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17" name="Objekt 116" hidden="1"/>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27" name="TextBox 16">
            <a:extLst>
              <a:ext uri="{FF2B5EF4-FFF2-40B4-BE49-F238E27FC236}">
                <a16:creationId xmlns:a16="http://schemas.microsoft.com/office/drawing/2014/main" id="{4530E405-9692-DFA9-A62E-B83D0AA0512B}"/>
              </a:ext>
            </a:extLst>
          </p:cNvPr>
          <p:cNvSpPr txBox="1"/>
          <p:nvPr/>
        </p:nvSpPr>
        <p:spPr>
          <a:xfrm>
            <a:off x="406431" y="2137632"/>
            <a:ext cx="5475257" cy="4029806"/>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10000"/>
              </a:lnSpc>
              <a:spcAft>
                <a:spcPct val="0"/>
              </a:spcAft>
            </a:pPr>
            <a:endParaRPr lang="en-US" sz="1199" b="0" i="0" u="none" baseline="0" dirty="0">
              <a:latin typeface="Arial"/>
              <a:ea typeface="Arial Unicode MS" panose="020B0604020202020204" pitchFamily="34" charset="-128"/>
              <a:cs typeface="Arial Unicode MS" panose="020B0604020202020204" pitchFamily="34" charset="-128"/>
            </a:endParaRPr>
          </a:p>
        </p:txBody>
      </p:sp>
      <p:sp>
        <p:nvSpPr>
          <p:cNvPr id="28" name="Gleichschenkliges Dreieck 27">
            <a:extLst>
              <a:ext uri="{FF2B5EF4-FFF2-40B4-BE49-F238E27FC236}">
                <a16:creationId xmlns:a16="http://schemas.microsoft.com/office/drawing/2014/main" id="{BAECC9DD-1AED-CF32-30C3-1AD37D684A5C}"/>
              </a:ext>
            </a:extLst>
          </p:cNvPr>
          <p:cNvSpPr/>
          <p:nvPr/>
        </p:nvSpPr>
        <p:spPr>
          <a:xfrm rot="5400000">
            <a:off x="5697158" y="3929378"/>
            <a:ext cx="617083" cy="446314"/>
          </a:xfrm>
          <a:prstGeom prst="triangle">
            <a:avLst/>
          </a:prstGeom>
          <a:solidFill>
            <a:srgbClr val="F3F3F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pic>
        <p:nvPicPr>
          <p:cNvPr id="5" name="Grafik 4">
            <a:extLst>
              <a:ext uri="{FF2B5EF4-FFF2-40B4-BE49-F238E27FC236}">
                <a16:creationId xmlns:a16="http://schemas.microsoft.com/office/drawing/2014/main" id="{234EB4E9-8554-D749-EF79-453972AFD276}"/>
              </a:ext>
            </a:extLst>
          </p:cNvPr>
          <p:cNvPicPr>
            <a:picLocks noChangeAspect="1"/>
          </p:cNvPicPr>
          <p:nvPr/>
        </p:nvPicPr>
        <p:blipFill>
          <a:blip r:embed="rId8"/>
          <a:stretch>
            <a:fillRect/>
          </a:stretch>
        </p:blipFill>
        <p:spPr>
          <a:xfrm>
            <a:off x="9482649" y="2519414"/>
            <a:ext cx="2292646" cy="2037203"/>
          </a:xfrm>
          <a:prstGeom prst="rect">
            <a:avLst/>
          </a:prstGeom>
        </p:spPr>
      </p:pic>
      <p:sp>
        <p:nvSpPr>
          <p:cNvPr id="6" name="Rechteck 5" hidden="1">
            <a:extLst>
              <a:ext uri="{FF2B5EF4-FFF2-40B4-BE49-F238E27FC236}">
                <a16:creationId xmlns:a16="http://schemas.microsoft.com/office/drawing/2014/main" id="{8231345E-4B32-4521-87C7-38D6F9B546A0}"/>
              </a:ext>
            </a:extLst>
          </p:cNvPr>
          <p:cNvSpPr/>
          <p:nvPr>
            <p:custDataLst>
              <p:tags r:id="rId3"/>
            </p:custDataLst>
          </p:nvPr>
        </p:nvSpPr>
        <p:spPr bwMode="gray">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199" b="1">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bwMode="gray"/>
        <p:txBody>
          <a:bodyPr vert="horz"/>
          <a:lstStyle/>
          <a:p>
            <a:r>
              <a:rPr lang="de-DE"/>
              <a:t>Analyze MyWorkpiece /Toolpath, Chiron Group SE - </a:t>
            </a:r>
            <a:br>
              <a:rPr lang="de-DE"/>
            </a:br>
            <a:r>
              <a:rPr lang="de-DE" sz="2000">
                <a:latin typeface="Arial" panose="020B0604020202020204" pitchFamily="34" charset="0"/>
              </a:rPr>
              <a:t>Improve process stability </a:t>
            </a:r>
            <a:r>
              <a:rPr lang="de-DE">
                <a:latin typeface="Arial" panose="020B0604020202020204" pitchFamily="34" charset="0"/>
              </a:rPr>
              <a:t>and reduce cycle times</a:t>
            </a:r>
            <a:endParaRPr lang="de-DE" b="0"/>
          </a:p>
        </p:txBody>
      </p:sp>
      <p:sp>
        <p:nvSpPr>
          <p:cNvPr id="125" name="cdtText Placeholder 10 Id11">
            <a:extLst>
              <a:ext uri="{FF2B5EF4-FFF2-40B4-BE49-F238E27FC236}">
                <a16:creationId xmlns:a16="http://schemas.microsoft.com/office/drawing/2014/main" id="{7978D5EE-A1A8-4A0D-A761-4ACC5629442E}"/>
              </a:ext>
            </a:extLst>
          </p:cNvPr>
          <p:cNvSpPr txBox="1">
            <a:spLocks/>
          </p:cNvSpPr>
          <p:nvPr/>
        </p:nvSpPr>
        <p:spPr bwMode="gray">
          <a:xfrm>
            <a:off x="408781" y="1439863"/>
            <a:ext cx="7128000" cy="36920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r>
              <a:rPr lang="en-US" sz="2399" b="1" dirty="0">
                <a:latin typeface="Arial"/>
                <a:ea typeface="ＭＳ Ｐゴシック"/>
                <a:cs typeface="Arial"/>
              </a:rPr>
              <a:t>Customer value:</a:t>
            </a:r>
          </a:p>
        </p:txBody>
      </p:sp>
      <p:cxnSp>
        <p:nvCxnSpPr>
          <p:cNvPr id="127" name="Gerader Verbinder 126">
            <a:extLst>
              <a:ext uri="{FF2B5EF4-FFF2-40B4-BE49-F238E27FC236}">
                <a16:creationId xmlns:a16="http://schemas.microsoft.com/office/drawing/2014/main" id="{CC33913C-BDD9-47B2-A0A2-BE44284935B1}"/>
              </a:ext>
            </a:extLst>
          </p:cNvPr>
          <p:cNvCxnSpPr/>
          <p:nvPr/>
        </p:nvCxnSpPr>
        <p:spPr>
          <a:xfrm>
            <a:off x="404812" y="1934028"/>
            <a:ext cx="433388" cy="0"/>
          </a:xfrm>
          <a:prstGeom prst="line">
            <a:avLst/>
          </a:prstGeom>
          <a:ln w="38100" cap="flat">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47" name="cdtText Placeholder 10 Id11">
            <a:extLst>
              <a:ext uri="{FF2B5EF4-FFF2-40B4-BE49-F238E27FC236}">
                <a16:creationId xmlns:a16="http://schemas.microsoft.com/office/drawing/2014/main" id="{83996EAC-2F8D-49F8-885A-4C032CCF4B59}"/>
              </a:ext>
            </a:extLst>
          </p:cNvPr>
          <p:cNvSpPr txBox="1">
            <a:spLocks/>
          </p:cNvSpPr>
          <p:nvPr/>
        </p:nvSpPr>
        <p:spPr bwMode="gray">
          <a:xfrm>
            <a:off x="621506" y="2292246"/>
            <a:ext cx="4727763" cy="3875192"/>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dirty="0">
                <a:latin typeface="Arial"/>
                <a:cs typeface="Arial"/>
              </a:rPr>
              <a:t>Quickly locate the problem, significantly reducing the time needed for optimizations and producing test parts.</a:t>
            </a:r>
            <a:br>
              <a:rPr lang="en-US" sz="1600" dirty="0">
                <a:latin typeface="Arial"/>
                <a:cs typeface="Arial"/>
              </a:rPr>
            </a:br>
            <a:endParaRPr lang="en-US" dirty="0">
              <a:cs typeface="Arial"/>
            </a:endParaRPr>
          </a:p>
          <a:p>
            <a:pPr>
              <a:lnSpc>
                <a:spcPct val="100000"/>
              </a:lnSpc>
              <a:spcBef>
                <a:spcPts val="0"/>
              </a:spcBef>
              <a:buClr>
                <a:schemeClr val="accent1"/>
              </a:buClr>
            </a:pPr>
            <a:r>
              <a:rPr lang="en-US" sz="1600" b="1" dirty="0"/>
              <a:t>Advantages of Analyze MyWorkpiece /Toolpath:</a:t>
            </a:r>
            <a:br>
              <a:rPr lang="en-US" b="1" dirty="0"/>
            </a:br>
            <a:endParaRPr lang="en-US" b="1" dirty="0"/>
          </a:p>
          <a:p>
            <a:pPr marL="285750" indent="-285750">
              <a:lnSpc>
                <a:spcPct val="100000"/>
              </a:lnSpc>
              <a:spcBef>
                <a:spcPts val="0"/>
              </a:spcBef>
              <a:buClr>
                <a:schemeClr val="accent1"/>
              </a:buClr>
              <a:buFont typeface="Arial" panose="020B0604020202020204" pitchFamily="34" charset="0"/>
              <a:buChar char="•"/>
            </a:pPr>
            <a:r>
              <a:rPr lang="en-US" sz="1600" dirty="0">
                <a:ea typeface="+mn-lt"/>
                <a:cs typeface="+mn-lt"/>
              </a:rPr>
              <a:t>Tooling preparation time was </a:t>
            </a:r>
            <a:r>
              <a:rPr lang="en-US" sz="1600" b="1" dirty="0">
                <a:ea typeface="+mn-lt"/>
                <a:cs typeface="+mn-lt"/>
              </a:rPr>
              <a:t>reduced</a:t>
            </a:r>
            <a:r>
              <a:rPr lang="en-US" sz="1600" dirty="0">
                <a:ea typeface="+mn-lt"/>
                <a:cs typeface="+mn-lt"/>
              </a:rPr>
              <a:t> </a:t>
            </a:r>
            <a:br>
              <a:rPr lang="en-US" sz="1600" dirty="0">
                <a:ea typeface="+mn-lt"/>
                <a:cs typeface="+mn-lt"/>
              </a:rPr>
            </a:br>
            <a:r>
              <a:rPr lang="en-US" sz="1600" dirty="0">
                <a:ea typeface="+mn-lt"/>
                <a:cs typeface="+mn-lt"/>
              </a:rPr>
              <a:t>by</a:t>
            </a:r>
            <a:r>
              <a:rPr lang="en-US" sz="1600" b="1" dirty="0">
                <a:ea typeface="+mn-lt"/>
                <a:cs typeface="+mn-lt"/>
              </a:rPr>
              <a:t> up to 50%</a:t>
            </a:r>
            <a:br>
              <a:rPr lang="en-US" sz="1600" dirty="0">
                <a:ea typeface="+mn-lt"/>
                <a:cs typeface="+mn-lt"/>
              </a:rPr>
            </a:br>
            <a:endParaRPr lang="en-US" sz="1600" dirty="0">
              <a:ea typeface="+mn-lt"/>
              <a:cs typeface="+mn-lt"/>
            </a:endParaRPr>
          </a:p>
          <a:p>
            <a:pPr marL="285750" indent="-285750">
              <a:lnSpc>
                <a:spcPct val="100000"/>
              </a:lnSpc>
              <a:spcBef>
                <a:spcPts val="0"/>
              </a:spcBef>
              <a:buClr>
                <a:schemeClr val="accent1"/>
              </a:buClr>
              <a:buFont typeface="Arial" panose="020B0604020202020204" pitchFamily="34" charset="0"/>
              <a:buChar char="•"/>
            </a:pPr>
            <a:r>
              <a:rPr lang="en-US" sz="1600" dirty="0">
                <a:ea typeface="+mn-lt"/>
                <a:cs typeface="+mn-lt"/>
              </a:rPr>
              <a:t>Error-parts on the actual machine </a:t>
            </a:r>
            <a:r>
              <a:rPr lang="en-US" sz="1600" b="1" dirty="0">
                <a:ea typeface="+mn-lt"/>
                <a:cs typeface="+mn-lt"/>
              </a:rPr>
              <a:t>were reduced </a:t>
            </a:r>
            <a:r>
              <a:rPr lang="en-US" sz="1600" dirty="0">
                <a:ea typeface="+mn-lt"/>
                <a:cs typeface="+mn-lt"/>
              </a:rPr>
              <a:t>by</a:t>
            </a:r>
            <a:r>
              <a:rPr lang="en-US" sz="1600" b="1" dirty="0">
                <a:ea typeface="+mn-lt"/>
                <a:cs typeface="+mn-lt"/>
              </a:rPr>
              <a:t> up to 99% </a:t>
            </a:r>
            <a:r>
              <a:rPr lang="en-US" sz="1600" dirty="0">
                <a:ea typeface="+mn-lt"/>
                <a:cs typeface="+mn-lt"/>
              </a:rPr>
              <a:t>when an analyzation of the part program was done digitally before.</a:t>
            </a:r>
          </a:p>
          <a:p>
            <a:pPr marL="179705" indent="-179705">
              <a:lnSpc>
                <a:spcPct val="100000"/>
              </a:lnSpc>
              <a:spcBef>
                <a:spcPts val="0"/>
              </a:spcBef>
              <a:buClr>
                <a:schemeClr val="accent1"/>
              </a:buClr>
              <a:buFont typeface="Arial" panose="020B0604020202020204" pitchFamily="34" charset="0"/>
              <a:buChar char="•"/>
            </a:pPr>
            <a:endParaRPr lang="en-US" dirty="0">
              <a:latin typeface="Arial"/>
              <a:cs typeface="Arial"/>
            </a:endParaRPr>
          </a:p>
        </p:txBody>
      </p:sp>
      <p:sp>
        <p:nvSpPr>
          <p:cNvPr id="17" name="Pfeil: nach unten 16">
            <a:extLst>
              <a:ext uri="{FF2B5EF4-FFF2-40B4-BE49-F238E27FC236}">
                <a16:creationId xmlns:a16="http://schemas.microsoft.com/office/drawing/2014/main" id="{02834E42-6A31-77E4-7565-5979153232EE}"/>
              </a:ext>
            </a:extLst>
          </p:cNvPr>
          <p:cNvSpPr/>
          <p:nvPr/>
        </p:nvSpPr>
        <p:spPr>
          <a:xfrm rot="16200000">
            <a:off x="8827073" y="3487084"/>
            <a:ext cx="360169" cy="675472"/>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4" name="Textfeld 23">
            <a:extLst>
              <a:ext uri="{FF2B5EF4-FFF2-40B4-BE49-F238E27FC236}">
                <a16:creationId xmlns:a16="http://schemas.microsoft.com/office/drawing/2014/main" id="{C60589EA-7EBF-EA47-EC26-D37B7C2D7A4C}"/>
              </a:ext>
            </a:extLst>
          </p:cNvPr>
          <p:cNvSpPr txBox="1"/>
          <p:nvPr/>
        </p:nvSpPr>
        <p:spPr>
          <a:xfrm>
            <a:off x="6778829" y="2049593"/>
            <a:ext cx="5006740" cy="369332"/>
          </a:xfrm>
          <a:prstGeom prst="rect">
            <a:avLst/>
          </a:prstGeom>
          <a:noFill/>
        </p:spPr>
        <p:txBody>
          <a:bodyPr wrap="square" lIns="0" tIns="0" rIns="0" bIns="0" rtlCol="0" anchor="t">
            <a:spAutoFit/>
          </a:bodyPr>
          <a:lstStyle/>
          <a:p>
            <a:pPr algn="l"/>
            <a:r>
              <a:rPr lang="en-US" sz="1200" dirty="0"/>
              <a:t>G-code optimization after analysis via </a:t>
            </a:r>
          </a:p>
          <a:p>
            <a:pPr algn="l"/>
            <a:r>
              <a:rPr lang="en-US" sz="1200" dirty="0"/>
              <a:t>AMW /Toolpath: Omission of intermediate points (NX)</a:t>
            </a:r>
            <a:endParaRPr lang="en-US" sz="1400" dirty="0"/>
          </a:p>
        </p:txBody>
      </p:sp>
      <p:sp>
        <p:nvSpPr>
          <p:cNvPr id="97" name="Rechteck 96">
            <a:extLst>
              <a:ext uri="{FF2B5EF4-FFF2-40B4-BE49-F238E27FC236}">
                <a16:creationId xmlns:a16="http://schemas.microsoft.com/office/drawing/2014/main" id="{637DF7FE-2125-B3E8-0895-635613BBD570}"/>
              </a:ext>
            </a:extLst>
          </p:cNvPr>
          <p:cNvSpPr/>
          <p:nvPr/>
        </p:nvSpPr>
        <p:spPr>
          <a:xfrm>
            <a:off x="6768556" y="5233018"/>
            <a:ext cx="2238602" cy="900545"/>
          </a:xfrm>
          <a:prstGeom prst="rect">
            <a:avLst/>
          </a:prstGeom>
          <a:solidFill>
            <a:srgbClr val="F3F3F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r>
              <a:rPr lang="en-US" sz="1200" dirty="0">
                <a:solidFill>
                  <a:sysClr val="windowText" lastClr="000000"/>
                </a:solidFill>
              </a:rPr>
              <a:t>Heavy vibration of the robot due to faulty points in the G-code program prevents processing.</a:t>
            </a:r>
          </a:p>
        </p:txBody>
      </p:sp>
      <p:sp>
        <p:nvSpPr>
          <p:cNvPr id="98" name="Rechteck 97">
            <a:extLst>
              <a:ext uri="{FF2B5EF4-FFF2-40B4-BE49-F238E27FC236}">
                <a16:creationId xmlns:a16="http://schemas.microsoft.com/office/drawing/2014/main" id="{74F856BD-4362-5BEB-229B-53A0BAAF390D}"/>
              </a:ext>
            </a:extLst>
          </p:cNvPr>
          <p:cNvSpPr/>
          <p:nvPr/>
        </p:nvSpPr>
        <p:spPr>
          <a:xfrm>
            <a:off x="9492923" y="5265035"/>
            <a:ext cx="2292646" cy="872034"/>
          </a:xfrm>
          <a:prstGeom prst="rect">
            <a:avLst/>
          </a:prstGeom>
          <a:solidFill>
            <a:srgbClr val="F3F3F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200" dirty="0">
                <a:solidFill>
                  <a:sysClr val="windowText" lastClr="000000"/>
                </a:solidFill>
              </a:rPr>
              <a:t>Much more harmonious speed profile, approx. 10% faster</a:t>
            </a:r>
          </a:p>
        </p:txBody>
      </p:sp>
      <p:sp>
        <p:nvSpPr>
          <p:cNvPr id="3" name="Fußzeilenplatzhalter 7">
            <a:extLst>
              <a:ext uri="{FF2B5EF4-FFF2-40B4-BE49-F238E27FC236}">
                <a16:creationId xmlns:a16="http://schemas.microsoft.com/office/drawing/2014/main" id="{53D4FE15-7848-0139-9DAA-E0969FDA2D6B}"/>
              </a:ext>
            </a:extLst>
          </p:cNvPr>
          <p:cNvSpPr>
            <a:spLocks noGrp="1"/>
          </p:cNvSpPr>
          <p:nvPr>
            <p:ph type="ftr" sz="quarter" idx="10"/>
          </p:nvPr>
        </p:nvSpPr>
        <p:spPr>
          <a:xfrm>
            <a:off x="1059160" y="6310800"/>
            <a:ext cx="9216000" cy="547200"/>
          </a:xfrm>
        </p:spPr>
        <p:txBody>
          <a:bodyPr/>
          <a:lstStyle/>
          <a:p>
            <a:pPr>
              <a:lnSpc>
                <a:spcPct val="100000"/>
              </a:lnSpc>
            </a:pPr>
            <a:r>
              <a:rPr lang="en-US" noProof="0"/>
              <a:t>Unrestricted | © Siemens 2023 | MACHINUM</a:t>
            </a:r>
          </a:p>
        </p:txBody>
      </p:sp>
      <p:sp>
        <p:nvSpPr>
          <p:cNvPr id="7" name="Foliennummernplatzhalter 8">
            <a:extLst>
              <a:ext uri="{FF2B5EF4-FFF2-40B4-BE49-F238E27FC236}">
                <a16:creationId xmlns:a16="http://schemas.microsoft.com/office/drawing/2014/main" id="{0A7CBBC8-C638-2768-EE65-CD68B8305227}"/>
              </a:ext>
            </a:extLst>
          </p:cNvPr>
          <p:cNvSpPr>
            <a:spLocks noGrp="1"/>
          </p:cNvSpPr>
          <p:nvPr>
            <p:ph type="sldNum" sz="quarter" idx="11"/>
          </p:nvPr>
        </p:nvSpPr>
        <p:spPr>
          <a:xfrm>
            <a:off x="411162" y="6310800"/>
            <a:ext cx="648000" cy="547200"/>
          </a:xfrm>
        </p:spPr>
        <p:txBody>
          <a:bodyPr/>
          <a:lstStyle/>
          <a:p>
            <a:r>
              <a:rPr lang="en-US" noProof="0"/>
              <a:t>Page </a:t>
            </a:r>
            <a:fld id="{15EBE321-CBB1-4E91-BD14-37C8D44326FB}" type="slidenum">
              <a:rPr lang="en-US" noProof="0" smtClean="0"/>
              <a:t>10</a:t>
            </a:fld>
            <a:endParaRPr lang="en-US" noProof="0"/>
          </a:p>
        </p:txBody>
      </p:sp>
      <p:grpSp>
        <p:nvGrpSpPr>
          <p:cNvPr id="9" name="Gruppieren 8">
            <a:extLst>
              <a:ext uri="{FF2B5EF4-FFF2-40B4-BE49-F238E27FC236}">
                <a16:creationId xmlns:a16="http://schemas.microsoft.com/office/drawing/2014/main" id="{B9833F7D-F530-0E72-4BE4-9F5A67F407D7}"/>
              </a:ext>
            </a:extLst>
          </p:cNvPr>
          <p:cNvGrpSpPr/>
          <p:nvPr/>
        </p:nvGrpSpPr>
        <p:grpSpPr>
          <a:xfrm>
            <a:off x="6768555" y="2502146"/>
            <a:ext cx="2238603" cy="2052650"/>
            <a:chOff x="8689093" y="1129483"/>
            <a:chExt cx="2687315" cy="2301131"/>
          </a:xfrm>
        </p:grpSpPr>
        <p:grpSp>
          <p:nvGrpSpPr>
            <p:cNvPr id="10" name="Gruppieren 9">
              <a:extLst>
                <a:ext uri="{FF2B5EF4-FFF2-40B4-BE49-F238E27FC236}">
                  <a16:creationId xmlns:a16="http://schemas.microsoft.com/office/drawing/2014/main" id="{E9388E76-75D1-E3F0-0D5B-F56DA6F38F9C}"/>
                </a:ext>
              </a:extLst>
            </p:cNvPr>
            <p:cNvGrpSpPr/>
            <p:nvPr/>
          </p:nvGrpSpPr>
          <p:grpSpPr>
            <a:xfrm>
              <a:off x="8689093" y="1129483"/>
              <a:ext cx="2687315" cy="2299511"/>
              <a:chOff x="8166098" y="1365316"/>
              <a:chExt cx="3929409" cy="3118840"/>
            </a:xfrm>
          </p:grpSpPr>
          <p:pic>
            <p:nvPicPr>
              <p:cNvPr id="13" name="Grafik 12">
                <a:extLst>
                  <a:ext uri="{FF2B5EF4-FFF2-40B4-BE49-F238E27FC236}">
                    <a16:creationId xmlns:a16="http://schemas.microsoft.com/office/drawing/2014/main" id="{9A087BE9-F137-9ED8-E905-B606FB53E391}"/>
                  </a:ext>
                </a:extLst>
              </p:cNvPr>
              <p:cNvPicPr>
                <a:picLocks noChangeAspect="1"/>
              </p:cNvPicPr>
              <p:nvPr/>
            </p:nvPicPr>
            <p:blipFill>
              <a:blip r:embed="rId9"/>
              <a:stretch>
                <a:fillRect/>
              </a:stretch>
            </p:blipFill>
            <p:spPr>
              <a:xfrm>
                <a:off x="8166098" y="1365316"/>
                <a:ext cx="3929409" cy="3118840"/>
              </a:xfrm>
              <a:prstGeom prst="rect">
                <a:avLst/>
              </a:prstGeom>
            </p:spPr>
          </p:pic>
          <p:sp>
            <p:nvSpPr>
              <p:cNvPr id="14" name="Ellipse 13">
                <a:extLst>
                  <a:ext uri="{FF2B5EF4-FFF2-40B4-BE49-F238E27FC236}">
                    <a16:creationId xmlns:a16="http://schemas.microsoft.com/office/drawing/2014/main" id="{389E5C67-789E-40FB-4928-B352144D20EA}"/>
                  </a:ext>
                </a:extLst>
              </p:cNvPr>
              <p:cNvSpPr/>
              <p:nvPr/>
            </p:nvSpPr>
            <p:spPr>
              <a:xfrm rot="18523138">
                <a:off x="9828395" y="2625388"/>
                <a:ext cx="404039" cy="287756"/>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5" name="Ellipse 14">
                <a:extLst>
                  <a:ext uri="{FF2B5EF4-FFF2-40B4-BE49-F238E27FC236}">
                    <a16:creationId xmlns:a16="http://schemas.microsoft.com/office/drawing/2014/main" id="{359D08DB-4198-DDCD-283F-CC6ECC95B960}"/>
                  </a:ext>
                </a:extLst>
              </p:cNvPr>
              <p:cNvSpPr/>
              <p:nvPr/>
            </p:nvSpPr>
            <p:spPr>
              <a:xfrm rot="18245527">
                <a:off x="10407055" y="1828898"/>
                <a:ext cx="954188" cy="287756"/>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6" name="Bogen 15">
                <a:extLst>
                  <a:ext uri="{FF2B5EF4-FFF2-40B4-BE49-F238E27FC236}">
                    <a16:creationId xmlns:a16="http://schemas.microsoft.com/office/drawing/2014/main" id="{AC3A3EF5-D864-DDAF-6489-74A73D52655A}"/>
                  </a:ext>
                </a:extLst>
              </p:cNvPr>
              <p:cNvSpPr/>
              <p:nvPr/>
            </p:nvSpPr>
            <p:spPr>
              <a:xfrm rot="16510887">
                <a:off x="10026806" y="2104599"/>
                <a:ext cx="1130437" cy="1025320"/>
              </a:xfrm>
              <a:custGeom>
                <a:avLst/>
                <a:gdLst>
                  <a:gd name="connsiteX0" fmla="*/ 565218 w 1130437"/>
                  <a:gd name="connsiteY0" fmla="*/ 0 h 1025320"/>
                  <a:gd name="connsiteX1" fmla="*/ 1130437 w 1130437"/>
                  <a:gd name="connsiteY1" fmla="*/ 512660 h 1025320"/>
                  <a:gd name="connsiteX2" fmla="*/ 565219 w 1130437"/>
                  <a:gd name="connsiteY2" fmla="*/ 512660 h 1025320"/>
                  <a:gd name="connsiteX3" fmla="*/ 565218 w 1130437"/>
                  <a:gd name="connsiteY3" fmla="*/ 0 h 1025320"/>
                  <a:gd name="connsiteX0" fmla="*/ 565218 w 1130437"/>
                  <a:gd name="connsiteY0" fmla="*/ 0 h 1025320"/>
                  <a:gd name="connsiteX1" fmla="*/ 1130437 w 1130437"/>
                  <a:gd name="connsiteY1" fmla="*/ 512660 h 1025320"/>
                </a:gdLst>
                <a:ahLst/>
                <a:cxnLst>
                  <a:cxn ang="0">
                    <a:pos x="connsiteX0" y="connsiteY0"/>
                  </a:cxn>
                  <a:cxn ang="0">
                    <a:pos x="connsiteX1" y="connsiteY1"/>
                  </a:cxn>
                </a:cxnLst>
                <a:rect l="l" t="t" r="r" b="b"/>
                <a:pathLst>
                  <a:path w="1130437" h="1025320" stroke="0" extrusionOk="0">
                    <a:moveTo>
                      <a:pt x="565218" y="0"/>
                    </a:moveTo>
                    <a:cubicBezTo>
                      <a:pt x="859844" y="-10816"/>
                      <a:pt x="1099488" y="241142"/>
                      <a:pt x="1130437" y="512660"/>
                    </a:cubicBezTo>
                    <a:cubicBezTo>
                      <a:pt x="910727" y="544298"/>
                      <a:pt x="714932" y="476393"/>
                      <a:pt x="565219" y="512660"/>
                    </a:cubicBezTo>
                    <a:cubicBezTo>
                      <a:pt x="557837" y="348982"/>
                      <a:pt x="562267" y="187196"/>
                      <a:pt x="565218" y="0"/>
                    </a:cubicBezTo>
                    <a:close/>
                  </a:path>
                  <a:path w="1130437" h="1025320" fill="none" extrusionOk="0">
                    <a:moveTo>
                      <a:pt x="565218" y="0"/>
                    </a:moveTo>
                    <a:cubicBezTo>
                      <a:pt x="928828" y="6103"/>
                      <a:pt x="1146055" y="197384"/>
                      <a:pt x="1130437" y="512660"/>
                    </a:cubicBezTo>
                  </a:path>
                  <a:path w="1130437" h="1025320" fill="none" stroke="0" extrusionOk="0">
                    <a:moveTo>
                      <a:pt x="565218" y="0"/>
                    </a:moveTo>
                    <a:cubicBezTo>
                      <a:pt x="862897" y="-7924"/>
                      <a:pt x="1159004" y="243175"/>
                      <a:pt x="1130437" y="512660"/>
                    </a:cubicBezTo>
                  </a:path>
                </a:pathLst>
              </a:custGeom>
              <a:ln w="9525">
                <a:solidFill>
                  <a:schemeClr val="accent1"/>
                </a:solidFill>
                <a:headEnd type="none" w="lg" len="lg"/>
                <a:tailEnd type="triangle" w="med" len="med"/>
                <a:extLst>
                  <a:ext uri="{C807C97D-BFC1-408E-A445-0C87EB9F89A2}">
                    <ask:lineSketchStyleProps xmlns:ask="http://schemas.microsoft.com/office/drawing/2018/sketchyshapes" sd="1219033472">
                      <a:prstGeom prst="arc">
                        <a:avLst/>
                      </a:prstGeom>
                      <ask:type>
                        <ask:lineSketchCurved/>
                      </ask:type>
                    </ask:lineSketchStyleProps>
                  </a:ext>
                </a:extLs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11" name="Textfeld 10">
              <a:extLst>
                <a:ext uri="{FF2B5EF4-FFF2-40B4-BE49-F238E27FC236}">
                  <a16:creationId xmlns:a16="http://schemas.microsoft.com/office/drawing/2014/main" id="{33B891A8-1F82-0E3F-E48F-CF3F056315B7}"/>
                </a:ext>
              </a:extLst>
            </p:cNvPr>
            <p:cNvSpPr txBox="1"/>
            <p:nvPr/>
          </p:nvSpPr>
          <p:spPr>
            <a:xfrm>
              <a:off x="10110294" y="3213155"/>
              <a:ext cx="557316" cy="172517"/>
            </a:xfrm>
            <a:prstGeom prst="rect">
              <a:avLst/>
            </a:prstGeom>
            <a:solidFill>
              <a:schemeClr val="tx1"/>
            </a:solidFill>
          </p:spPr>
          <p:txBody>
            <a:bodyPr wrap="square" lIns="0" tIns="0" rIns="0" bIns="0" rtlCol="0">
              <a:spAutoFit/>
            </a:bodyPr>
            <a:lstStyle/>
            <a:p>
              <a:pPr algn="l"/>
              <a:r>
                <a:rPr lang="en-US" sz="1000" dirty="0" err="1">
                  <a:solidFill>
                    <a:schemeClr val="accent1"/>
                  </a:solidFill>
                </a:rPr>
                <a:t>GCode</a:t>
              </a:r>
              <a:endParaRPr lang="en-US" sz="1000" dirty="0">
                <a:solidFill>
                  <a:schemeClr val="accent1"/>
                </a:solidFill>
              </a:endParaRPr>
            </a:p>
          </p:txBody>
        </p:sp>
        <p:sp>
          <p:nvSpPr>
            <p:cNvPr id="12" name="Textfeld 11">
              <a:extLst>
                <a:ext uri="{FF2B5EF4-FFF2-40B4-BE49-F238E27FC236}">
                  <a16:creationId xmlns:a16="http://schemas.microsoft.com/office/drawing/2014/main" id="{C9DD64CF-E610-F559-8B42-FE8BD4E94503}"/>
                </a:ext>
              </a:extLst>
            </p:cNvPr>
            <p:cNvSpPr txBox="1"/>
            <p:nvPr/>
          </p:nvSpPr>
          <p:spPr>
            <a:xfrm>
              <a:off x="10791297" y="3085580"/>
              <a:ext cx="585110" cy="345034"/>
            </a:xfrm>
            <a:prstGeom prst="rect">
              <a:avLst/>
            </a:prstGeom>
            <a:solidFill>
              <a:schemeClr val="tx1"/>
            </a:solidFill>
          </p:spPr>
          <p:txBody>
            <a:bodyPr wrap="square" lIns="0" tIns="0" rIns="0" bIns="0" rtlCol="0">
              <a:spAutoFit/>
            </a:bodyPr>
            <a:lstStyle/>
            <a:p>
              <a:pPr algn="l"/>
              <a:r>
                <a:rPr lang="en-US" sz="1000" dirty="0">
                  <a:solidFill>
                    <a:schemeClr val="accent1"/>
                  </a:solidFill>
                </a:rPr>
                <a:t>NC Trace</a:t>
              </a:r>
            </a:p>
          </p:txBody>
        </p:sp>
      </p:grpSp>
      <p:pic>
        <p:nvPicPr>
          <p:cNvPr id="19" name="Grafik 18">
            <a:extLst>
              <a:ext uri="{FF2B5EF4-FFF2-40B4-BE49-F238E27FC236}">
                <a16:creationId xmlns:a16="http://schemas.microsoft.com/office/drawing/2014/main" id="{BEA7118B-959F-33EE-1A87-4EF52F981A56}"/>
              </a:ext>
            </a:extLst>
          </p:cNvPr>
          <p:cNvPicPr>
            <a:picLocks noChangeAspect="1"/>
          </p:cNvPicPr>
          <p:nvPr/>
        </p:nvPicPr>
        <p:blipFill>
          <a:blip r:embed="rId10"/>
          <a:stretch>
            <a:fillRect/>
          </a:stretch>
        </p:blipFill>
        <p:spPr>
          <a:xfrm>
            <a:off x="6768555" y="4538056"/>
            <a:ext cx="2238602" cy="437210"/>
          </a:xfrm>
          <a:prstGeom prst="rect">
            <a:avLst/>
          </a:prstGeom>
        </p:spPr>
      </p:pic>
      <p:pic>
        <p:nvPicPr>
          <p:cNvPr id="20" name="Grafik 19">
            <a:extLst>
              <a:ext uri="{FF2B5EF4-FFF2-40B4-BE49-F238E27FC236}">
                <a16:creationId xmlns:a16="http://schemas.microsoft.com/office/drawing/2014/main" id="{2360C089-F1D1-DD84-3C11-3A5836759D08}"/>
              </a:ext>
            </a:extLst>
          </p:cNvPr>
          <p:cNvPicPr>
            <a:picLocks noChangeAspect="1"/>
          </p:cNvPicPr>
          <p:nvPr/>
        </p:nvPicPr>
        <p:blipFill>
          <a:blip r:embed="rId11"/>
          <a:stretch>
            <a:fillRect/>
          </a:stretch>
        </p:blipFill>
        <p:spPr>
          <a:xfrm>
            <a:off x="9492923" y="4551495"/>
            <a:ext cx="2282372" cy="441541"/>
          </a:xfrm>
          <a:prstGeom prst="rect">
            <a:avLst/>
          </a:prstGeom>
        </p:spPr>
      </p:pic>
      <p:sp>
        <p:nvSpPr>
          <p:cNvPr id="21" name="Rechteck 20">
            <a:extLst>
              <a:ext uri="{FF2B5EF4-FFF2-40B4-BE49-F238E27FC236}">
                <a16:creationId xmlns:a16="http://schemas.microsoft.com/office/drawing/2014/main" id="{BEDF3C04-9790-3FBB-58F9-F036FF69525B}"/>
              </a:ext>
            </a:extLst>
          </p:cNvPr>
          <p:cNvSpPr/>
          <p:nvPr/>
        </p:nvSpPr>
        <p:spPr>
          <a:xfrm>
            <a:off x="6768556" y="4980085"/>
            <a:ext cx="2238603" cy="27291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000" dirty="0">
                <a:solidFill>
                  <a:schemeClr val="tx1"/>
                </a:solidFill>
              </a:rPr>
              <a:t>TCP Speed</a:t>
            </a:r>
          </a:p>
          <a:p>
            <a:pPr algn="l"/>
            <a:endParaRPr lang="en-US" sz="1000" dirty="0">
              <a:solidFill>
                <a:schemeClr val="tx1"/>
              </a:solidFill>
            </a:endParaRPr>
          </a:p>
        </p:txBody>
      </p:sp>
      <p:sp>
        <p:nvSpPr>
          <p:cNvPr id="22" name="Rechteck 21">
            <a:extLst>
              <a:ext uri="{FF2B5EF4-FFF2-40B4-BE49-F238E27FC236}">
                <a16:creationId xmlns:a16="http://schemas.microsoft.com/office/drawing/2014/main" id="{529026FB-2AF8-50C5-2444-36AA4AA2E9AE}"/>
              </a:ext>
            </a:extLst>
          </p:cNvPr>
          <p:cNvSpPr/>
          <p:nvPr/>
        </p:nvSpPr>
        <p:spPr>
          <a:xfrm>
            <a:off x="9492923" y="4975266"/>
            <a:ext cx="2292646" cy="28976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r>
              <a:rPr lang="en-US" sz="1000" dirty="0">
                <a:solidFill>
                  <a:schemeClr val="tx1"/>
                </a:solidFill>
              </a:rPr>
              <a:t>TCP Speed</a:t>
            </a:r>
          </a:p>
        </p:txBody>
      </p:sp>
    </p:spTree>
    <p:custDataLst>
      <p:tags r:id="rId1"/>
    </p:custDataLst>
    <p:extLst>
      <p:ext uri="{BB962C8B-B14F-4D97-AF65-F5344CB8AC3E}">
        <p14:creationId xmlns:p14="http://schemas.microsoft.com/office/powerpoint/2010/main" val="14943943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2AE3AEB-1372-4018-A74B-C9F4D007F395}"/>
              </a:ext>
            </a:extLst>
          </p:cNvPr>
          <p:cNvGraphicFramePr>
            <a:graphicFrameLocks noChangeAspect="1"/>
          </p:cNvGraphicFramePr>
          <p:nvPr>
            <p:custDataLst>
              <p:tags r:id="rId2"/>
            </p:custDataLst>
            <p:extLst>
              <p:ext uri="{D42A27DB-BD31-4B8C-83A1-F6EECF244321}">
                <p14:modId xmlns:p14="http://schemas.microsoft.com/office/powerpoint/2010/main" val="3207366467"/>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4" name="Objekt 3" hidden="1">
                        <a:extLst>
                          <a:ext uri="{FF2B5EF4-FFF2-40B4-BE49-F238E27FC236}">
                            <a16:creationId xmlns:a16="http://schemas.microsoft.com/office/drawing/2014/main" id="{D2AE3AEB-1372-4018-A74B-C9F4D007F395}"/>
                          </a:ext>
                        </a:extLst>
                      </p:cNvPr>
                      <p:cNvPicPr/>
                      <p:nvPr/>
                    </p:nvPicPr>
                    <p:blipFill>
                      <a:blip r:embed="rId7"/>
                      <a:stretch>
                        <a:fillRect/>
                      </a:stretch>
                    </p:blipFill>
                    <p:spPr>
                      <a:xfrm>
                        <a:off x="1587" y="3372"/>
                        <a:ext cx="1587" cy="1587"/>
                      </a:xfrm>
                      <a:prstGeom prst="rect">
                        <a:avLst/>
                      </a:prstGeom>
                    </p:spPr>
                  </p:pic>
                </p:oleObj>
              </mc:Fallback>
            </mc:AlternateContent>
          </a:graphicData>
        </a:graphic>
      </p:graphicFrame>
      <p:pic>
        <p:nvPicPr>
          <p:cNvPr id="20" name="Picture 4">
            <a:extLst>
              <a:ext uri="{FF2B5EF4-FFF2-40B4-BE49-F238E27FC236}">
                <a16:creationId xmlns:a16="http://schemas.microsoft.com/office/drawing/2014/main" id="{F3BC12EA-7618-FD35-70F7-75269D7F78A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9486" t="14490" r="32011" b="8151"/>
          <a:stretch/>
        </p:blipFill>
        <p:spPr bwMode="auto">
          <a:xfrm>
            <a:off x="7890512" y="0"/>
            <a:ext cx="4299848" cy="6858000"/>
          </a:xfrm>
          <a:prstGeom prst="rect">
            <a:avLst/>
          </a:prstGeom>
          <a:noFill/>
          <a:extLst>
            <a:ext uri="{909E8E84-426E-40DD-AFC4-6F175D3DCCD1}">
              <a14:hiddenFill xmlns:a14="http://schemas.microsoft.com/office/drawing/2010/main">
                <a:solidFill>
                  <a:srgbClr val="FFFFFF"/>
                </a:solidFill>
              </a14:hiddenFill>
            </a:ext>
          </a:extLst>
        </p:spPr>
      </p:pic>
      <p:sp>
        <p:nvSpPr>
          <p:cNvPr id="22" name="cdtText Placeholder 10 Id11">
            <a:extLst>
              <a:ext uri="{FF2B5EF4-FFF2-40B4-BE49-F238E27FC236}">
                <a16:creationId xmlns:a16="http://schemas.microsoft.com/office/drawing/2014/main" id="{62D89CB8-417C-4AD2-8C88-CC0F19F4558A}"/>
              </a:ext>
            </a:extLst>
          </p:cNvPr>
          <p:cNvSpPr txBox="1">
            <a:spLocks/>
          </p:cNvSpPr>
          <p:nvPr/>
        </p:nvSpPr>
        <p:spPr bwMode="gray">
          <a:xfrm>
            <a:off x="408781" y="1439863"/>
            <a:ext cx="7128000" cy="36920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r>
              <a:rPr lang="de-DE" sz="2399" b="1">
                <a:latin typeface="Arial"/>
                <a:ea typeface="ＭＳ Ｐゴシック"/>
                <a:cs typeface="Arial"/>
              </a:rPr>
              <a:t>Why Siemens?</a:t>
            </a:r>
          </a:p>
        </p:txBody>
      </p:sp>
      <p:sp>
        <p:nvSpPr>
          <p:cNvPr id="3" name="Rechteck 2" hidden="1">
            <a:extLst>
              <a:ext uri="{FF2B5EF4-FFF2-40B4-BE49-F238E27FC236}">
                <a16:creationId xmlns:a16="http://schemas.microsoft.com/office/drawing/2014/main" id="{3C58C7F8-0E06-4B11-B9F3-8351E44EF152}"/>
              </a:ext>
            </a:extLst>
          </p:cNvPr>
          <p:cNvSpPr/>
          <p:nvPr>
            <p:custDataLst>
              <p:tags r:id="rId3"/>
            </p:custDataLst>
          </p:nvPr>
        </p:nvSpPr>
        <p:spPr bwMode="gray">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algn="ctr">
              <a:lnSpc>
                <a:spcPct val="110000"/>
              </a:lnSpc>
              <a:spcBef>
                <a:spcPct val="0"/>
              </a:spcBef>
              <a:buFont typeface="Wingdings" charset="0"/>
              <a:buNone/>
            </a:pPr>
            <a:endParaRPr lang="en-US" sz="2199" b="1">
              <a:ea typeface="+mj-ea"/>
              <a:cs typeface="Arial" panose="020B0604020202020204" pitchFamily="34" charset="0"/>
              <a:sym typeface="Arial" panose="020B0604020202020204" pitchFamily="34" charset="0"/>
            </a:endParaRPr>
          </a:p>
        </p:txBody>
      </p:sp>
      <p:sp>
        <p:nvSpPr>
          <p:cNvPr id="109572" name="cdtRectangle 4 Id109572"/>
          <p:cNvSpPr>
            <a:spLocks noGrp="1" noChangeArrowheads="1"/>
          </p:cNvSpPr>
          <p:nvPr>
            <p:ph type="title"/>
          </p:nvPr>
        </p:nvSpPr>
        <p:spPr bwMode="gray">
          <a:xfrm>
            <a:off x="410401" y="478800"/>
            <a:ext cx="7035428" cy="576000"/>
          </a:xfrm>
        </p:spPr>
        <p:txBody>
          <a:bodyPr vert="horz"/>
          <a:lstStyle/>
          <a:p>
            <a:r>
              <a:rPr lang="en-US"/>
              <a:t>Analyze MyWorkpiece /Toolpath, Chiron Group SE - </a:t>
            </a:r>
            <a:br>
              <a:rPr lang="en-US"/>
            </a:br>
            <a:r>
              <a:rPr lang="en-US">
                <a:latin typeface="Arial" panose="020B0604020202020204" pitchFamily="34" charset="0"/>
              </a:rPr>
              <a:t>Improving surface quality and the productivity of machine tools</a:t>
            </a:r>
            <a:endParaRPr lang="en-US" b="0"/>
          </a:p>
        </p:txBody>
      </p:sp>
      <p:pic>
        <p:nvPicPr>
          <p:cNvPr id="19" name="Siemens Logo">
            <a:extLst>
              <a:ext uri="{FF2B5EF4-FFF2-40B4-BE49-F238E27FC236}">
                <a16:creationId xmlns:a16="http://schemas.microsoft.com/office/drawing/2014/main" id="{56DBDD89-CCBA-451C-9341-19E87D47228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635188" y="6418800"/>
            <a:ext cx="1152000" cy="183168"/>
          </a:xfrm>
          <a:prstGeom prst="rect">
            <a:avLst/>
          </a:prstGeom>
        </p:spPr>
      </p:pic>
      <p:sp>
        <p:nvSpPr>
          <p:cNvPr id="27" name="cdtText Placeholder 10 Id11">
            <a:extLst>
              <a:ext uri="{FF2B5EF4-FFF2-40B4-BE49-F238E27FC236}">
                <a16:creationId xmlns:a16="http://schemas.microsoft.com/office/drawing/2014/main" id="{452FCBE7-3725-4DF4-9B4E-FF9616B2907A}"/>
              </a:ext>
            </a:extLst>
          </p:cNvPr>
          <p:cNvSpPr txBox="1">
            <a:spLocks/>
          </p:cNvSpPr>
          <p:nvPr/>
        </p:nvSpPr>
        <p:spPr bwMode="gray">
          <a:xfrm>
            <a:off x="408781" y="2121468"/>
            <a:ext cx="7128000" cy="120362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indent="0" rtl="0">
              <a:lnSpc>
                <a:spcPct val="100000"/>
              </a:lnSpc>
              <a:spcBef>
                <a:spcPts val="0"/>
              </a:spcBef>
              <a:buClr>
                <a:schemeClr val="accent1"/>
              </a:buClr>
              <a:buFont typeface="Arial" panose="020B0604020202020204" pitchFamily="34" charset="0"/>
              <a:buNone/>
            </a:pPr>
            <a:r>
              <a:rPr lang="de-DE" sz="1600" b="0" i="0" dirty="0" err="1">
                <a:solidFill>
                  <a:srgbClr val="323130"/>
                </a:solidFill>
                <a:effectLst/>
                <a:latin typeface="+mj-lt"/>
              </a:rPr>
              <a:t>We</a:t>
            </a:r>
            <a:r>
              <a:rPr lang="de-DE" sz="1600" b="0" i="0" dirty="0">
                <a:solidFill>
                  <a:srgbClr val="323130"/>
                </a:solidFill>
                <a:effectLst/>
                <a:latin typeface="+mj-lt"/>
              </a:rPr>
              <a:t> </a:t>
            </a:r>
            <a:r>
              <a:rPr lang="de-DE" sz="1600" b="0" i="0" dirty="0" err="1">
                <a:solidFill>
                  <a:srgbClr val="323130"/>
                </a:solidFill>
                <a:effectLst/>
                <a:latin typeface="+mj-lt"/>
              </a:rPr>
              <a:t>have</a:t>
            </a:r>
            <a:r>
              <a:rPr lang="de-DE" sz="1600" b="0" i="0" dirty="0">
                <a:solidFill>
                  <a:srgbClr val="323130"/>
                </a:solidFill>
                <a:effectLst/>
                <a:latin typeface="+mj-lt"/>
              </a:rPr>
              <a:t> a Siemens </a:t>
            </a:r>
            <a:r>
              <a:rPr lang="de-DE" sz="1600" b="0" i="0" dirty="0" err="1">
                <a:solidFill>
                  <a:srgbClr val="323130"/>
                </a:solidFill>
                <a:effectLst/>
                <a:latin typeface="+mj-lt"/>
              </a:rPr>
              <a:t>product</a:t>
            </a:r>
            <a:r>
              <a:rPr lang="de-DE" sz="1600" b="0" i="0" dirty="0">
                <a:solidFill>
                  <a:srgbClr val="323130"/>
                </a:solidFill>
                <a:effectLst/>
                <a:latin typeface="+mj-lt"/>
              </a:rPr>
              <a:t> </a:t>
            </a:r>
            <a:r>
              <a:rPr lang="de-DE" sz="1600" b="0" i="0" dirty="0" err="1">
                <a:solidFill>
                  <a:srgbClr val="323130"/>
                </a:solidFill>
                <a:effectLst/>
                <a:latin typeface="+mj-lt"/>
              </a:rPr>
              <a:t>with</a:t>
            </a:r>
            <a:r>
              <a:rPr lang="de-DE" sz="1600" b="0" i="0" dirty="0">
                <a:solidFill>
                  <a:srgbClr val="323130"/>
                </a:solidFill>
                <a:effectLst/>
                <a:latin typeface="+mj-lt"/>
              </a:rPr>
              <a:t> Analyze MyWorkpiece / Toolpath, </a:t>
            </a:r>
            <a:r>
              <a:rPr lang="de-DE" sz="1600" b="0" i="0" dirty="0" err="1">
                <a:solidFill>
                  <a:srgbClr val="323130"/>
                </a:solidFill>
                <a:effectLst/>
                <a:latin typeface="+mj-lt"/>
              </a:rPr>
              <a:t>which</a:t>
            </a:r>
            <a:r>
              <a:rPr lang="de-DE" sz="1600" b="0" i="0" dirty="0">
                <a:solidFill>
                  <a:srgbClr val="323130"/>
                </a:solidFill>
                <a:effectLst/>
                <a:latin typeface="+mj-lt"/>
              </a:rPr>
              <a:t> </a:t>
            </a:r>
            <a:r>
              <a:rPr lang="de-DE" sz="1600" b="0" i="0" dirty="0" err="1">
                <a:solidFill>
                  <a:srgbClr val="323130"/>
                </a:solidFill>
                <a:effectLst/>
                <a:latin typeface="+mj-lt"/>
              </a:rPr>
              <a:t>is</a:t>
            </a:r>
            <a:r>
              <a:rPr lang="de-DE" sz="1600" b="0" i="0" dirty="0">
                <a:solidFill>
                  <a:srgbClr val="323130"/>
                </a:solidFill>
                <a:effectLst/>
                <a:latin typeface="+mj-lt"/>
              </a:rPr>
              <a:t> </a:t>
            </a:r>
            <a:r>
              <a:rPr lang="de-DE" sz="1600" b="0" i="0" dirty="0" err="1">
                <a:solidFill>
                  <a:srgbClr val="323130"/>
                </a:solidFill>
                <a:effectLst/>
                <a:latin typeface="+mj-lt"/>
              </a:rPr>
              <a:t>deeply</a:t>
            </a:r>
            <a:r>
              <a:rPr lang="de-DE" sz="1600" b="0" i="0" dirty="0">
                <a:solidFill>
                  <a:srgbClr val="323130"/>
                </a:solidFill>
                <a:effectLst/>
                <a:latin typeface="+mj-lt"/>
              </a:rPr>
              <a:t> </a:t>
            </a:r>
            <a:r>
              <a:rPr lang="de-DE" sz="1600" b="0" i="0" dirty="0" err="1">
                <a:solidFill>
                  <a:srgbClr val="323130"/>
                </a:solidFill>
                <a:effectLst/>
                <a:latin typeface="+mj-lt"/>
              </a:rPr>
              <a:t>integrated</a:t>
            </a:r>
            <a:r>
              <a:rPr lang="de-DE" sz="1600" b="0" i="0" dirty="0">
                <a:solidFill>
                  <a:srgbClr val="323130"/>
                </a:solidFill>
                <a:effectLst/>
                <a:latin typeface="+mj-lt"/>
              </a:rPr>
              <a:t> </a:t>
            </a:r>
            <a:r>
              <a:rPr lang="de-DE" sz="1600" b="0" i="0" dirty="0" err="1">
                <a:solidFill>
                  <a:srgbClr val="323130"/>
                </a:solidFill>
                <a:effectLst/>
                <a:latin typeface="+mj-lt"/>
              </a:rPr>
              <a:t>into</a:t>
            </a:r>
            <a:r>
              <a:rPr lang="de-DE" sz="1600" b="0" i="0" dirty="0">
                <a:solidFill>
                  <a:srgbClr val="323130"/>
                </a:solidFill>
                <a:effectLst/>
                <a:latin typeface="+mj-lt"/>
              </a:rPr>
              <a:t> </a:t>
            </a:r>
            <a:r>
              <a:rPr lang="de-DE" sz="1600" b="0" i="0" dirty="0" err="1">
                <a:solidFill>
                  <a:srgbClr val="323130"/>
                </a:solidFill>
                <a:effectLst/>
                <a:latin typeface="+mj-lt"/>
              </a:rPr>
              <a:t>the</a:t>
            </a:r>
            <a:r>
              <a:rPr lang="de-DE" sz="1600" b="0" i="0" dirty="0">
                <a:solidFill>
                  <a:srgbClr val="323130"/>
                </a:solidFill>
                <a:effectLst/>
                <a:latin typeface="+mj-lt"/>
              </a:rPr>
              <a:t> </a:t>
            </a:r>
            <a:r>
              <a:rPr lang="de-DE" sz="1600" b="0" i="0" dirty="0" err="1">
                <a:solidFill>
                  <a:srgbClr val="323130"/>
                </a:solidFill>
                <a:effectLst/>
                <a:latin typeface="+mj-lt"/>
              </a:rPr>
              <a:t>overall</a:t>
            </a:r>
            <a:r>
              <a:rPr lang="de-DE" sz="1600" b="0" i="0" dirty="0">
                <a:solidFill>
                  <a:srgbClr val="323130"/>
                </a:solidFill>
                <a:effectLst/>
                <a:latin typeface="+mj-lt"/>
              </a:rPr>
              <a:t> </a:t>
            </a:r>
            <a:r>
              <a:rPr lang="de-DE" sz="1600" b="0" i="0" dirty="0" err="1">
                <a:solidFill>
                  <a:srgbClr val="323130"/>
                </a:solidFill>
                <a:effectLst/>
                <a:latin typeface="+mj-lt"/>
              </a:rPr>
              <a:t>system</a:t>
            </a:r>
            <a:r>
              <a:rPr lang="de-DE" sz="1600" b="0" i="0" dirty="0">
                <a:solidFill>
                  <a:srgbClr val="323130"/>
                </a:solidFill>
                <a:effectLst/>
                <a:latin typeface="+mj-lt"/>
              </a:rPr>
              <a:t> and </a:t>
            </a:r>
            <a:r>
              <a:rPr lang="de-DE" sz="1600" b="0" i="0" dirty="0" err="1">
                <a:solidFill>
                  <a:srgbClr val="323130"/>
                </a:solidFill>
                <a:effectLst/>
                <a:latin typeface="+mj-lt"/>
              </a:rPr>
              <a:t>enables</a:t>
            </a:r>
            <a:r>
              <a:rPr lang="de-DE" sz="1600" b="0" i="0" dirty="0">
                <a:solidFill>
                  <a:srgbClr val="323130"/>
                </a:solidFill>
                <a:effectLst/>
                <a:latin typeface="+mj-lt"/>
              </a:rPr>
              <a:t> optimal SINUMERIK </a:t>
            </a:r>
            <a:r>
              <a:rPr lang="de-DE" sz="1600" b="0" i="0" dirty="0" err="1">
                <a:solidFill>
                  <a:srgbClr val="323130"/>
                </a:solidFill>
                <a:effectLst/>
                <a:latin typeface="+mj-lt"/>
              </a:rPr>
              <a:t>data</a:t>
            </a:r>
            <a:r>
              <a:rPr lang="de-DE" sz="1600" b="0" i="0" dirty="0">
                <a:solidFill>
                  <a:srgbClr val="323130"/>
                </a:solidFill>
                <a:effectLst/>
                <a:latin typeface="+mj-lt"/>
              </a:rPr>
              <a:t> </a:t>
            </a:r>
            <a:r>
              <a:rPr lang="de-DE" sz="1600" b="0" i="0" dirty="0" err="1">
                <a:solidFill>
                  <a:srgbClr val="323130"/>
                </a:solidFill>
                <a:effectLst/>
                <a:latin typeface="+mj-lt"/>
              </a:rPr>
              <a:t>access</a:t>
            </a:r>
            <a:r>
              <a:rPr lang="de-DE" sz="1600" b="0" i="0" dirty="0">
                <a:solidFill>
                  <a:srgbClr val="323130"/>
                </a:solidFill>
                <a:effectLst/>
                <a:latin typeface="+mj-lt"/>
              </a:rPr>
              <a:t>. </a:t>
            </a:r>
            <a:r>
              <a:rPr lang="en-US" sz="1600" b="0" i="0" dirty="0">
                <a:solidFill>
                  <a:srgbClr val="323130"/>
                </a:solidFill>
                <a:effectLst/>
                <a:latin typeface="+mj-lt"/>
              </a:rPr>
              <a:t>In interaction with Create MyVirtual Machine, the digital twin of </a:t>
            </a:r>
            <a:r>
              <a:rPr lang="en-US" sz="1600" b="0" i="0" dirty="0" err="1">
                <a:solidFill>
                  <a:srgbClr val="323130"/>
                </a:solidFill>
                <a:effectLst/>
                <a:latin typeface="+mj-lt"/>
              </a:rPr>
              <a:t>Sinumerik</a:t>
            </a:r>
            <a:r>
              <a:rPr lang="en-US" sz="1600" b="0" i="0" dirty="0">
                <a:solidFill>
                  <a:srgbClr val="323130"/>
                </a:solidFill>
                <a:effectLst/>
                <a:latin typeface="+mj-lt"/>
              </a:rPr>
              <a:t>, optimization/diagnosis can be carried out at the office, almost completely eliminating error-parts and material waste. </a:t>
            </a:r>
            <a:endParaRPr lang="en-US" sz="1600" b="0" i="0" u="none" strike="noStrike" kern="1200" baseline="0" noProof="0" dirty="0">
              <a:solidFill>
                <a:srgbClr val="FF0000"/>
              </a:solidFill>
              <a:latin typeface="+mj-lt"/>
              <a:ea typeface="+mn-ea"/>
              <a:cs typeface="+mn-cs"/>
            </a:endParaRPr>
          </a:p>
        </p:txBody>
      </p:sp>
      <p:cxnSp>
        <p:nvCxnSpPr>
          <p:cNvPr id="29" name="Gerader Verbinder 28">
            <a:extLst>
              <a:ext uri="{FF2B5EF4-FFF2-40B4-BE49-F238E27FC236}">
                <a16:creationId xmlns:a16="http://schemas.microsoft.com/office/drawing/2014/main" id="{E1B3494E-DE9A-4007-B52A-B6628824FA98}"/>
              </a:ext>
            </a:extLst>
          </p:cNvPr>
          <p:cNvCxnSpPr/>
          <p:nvPr/>
        </p:nvCxnSpPr>
        <p:spPr>
          <a:xfrm>
            <a:off x="404812" y="1934028"/>
            <a:ext cx="433388" cy="0"/>
          </a:xfrm>
          <a:prstGeom prst="line">
            <a:avLst/>
          </a:prstGeom>
          <a:ln w="38100" cap="flat">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pic>
        <p:nvPicPr>
          <p:cNvPr id="32" name="Siemens Logo">
            <a:extLst>
              <a:ext uri="{FF2B5EF4-FFF2-40B4-BE49-F238E27FC236}">
                <a16:creationId xmlns:a16="http://schemas.microsoft.com/office/drawing/2014/main" id="{B351CEBF-E9B0-40B2-9746-FC99CC53BA2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635188" y="6418800"/>
            <a:ext cx="1152000" cy="183168"/>
          </a:xfrm>
          <a:prstGeom prst="rect">
            <a:avLst/>
          </a:prstGeom>
        </p:spPr>
      </p:pic>
      <p:sp>
        <p:nvSpPr>
          <p:cNvPr id="2" name="Fußzeilenplatzhalter 7">
            <a:extLst>
              <a:ext uri="{FF2B5EF4-FFF2-40B4-BE49-F238E27FC236}">
                <a16:creationId xmlns:a16="http://schemas.microsoft.com/office/drawing/2014/main" id="{E5D5FE2E-D6B9-3D6C-C682-AF94679EE1D0}"/>
              </a:ext>
            </a:extLst>
          </p:cNvPr>
          <p:cNvSpPr>
            <a:spLocks noGrp="1"/>
          </p:cNvSpPr>
          <p:nvPr>
            <p:ph type="ftr" sz="quarter" idx="10"/>
          </p:nvPr>
        </p:nvSpPr>
        <p:spPr>
          <a:xfrm>
            <a:off x="1059160" y="6310800"/>
            <a:ext cx="9216000" cy="547200"/>
          </a:xfrm>
        </p:spPr>
        <p:txBody>
          <a:bodyPr/>
          <a:lstStyle/>
          <a:p>
            <a:pPr>
              <a:lnSpc>
                <a:spcPct val="100000"/>
              </a:lnSpc>
            </a:pPr>
            <a:r>
              <a:rPr lang="en-US" noProof="0"/>
              <a:t>Unrestricted | © Siemens 2023 | MACHINUM</a:t>
            </a:r>
          </a:p>
        </p:txBody>
      </p:sp>
      <p:sp>
        <p:nvSpPr>
          <p:cNvPr id="7" name="Foliennummernplatzhalter 8">
            <a:extLst>
              <a:ext uri="{FF2B5EF4-FFF2-40B4-BE49-F238E27FC236}">
                <a16:creationId xmlns:a16="http://schemas.microsoft.com/office/drawing/2014/main" id="{02FEC501-1F1D-6BCB-D723-3564A24911F3}"/>
              </a:ext>
            </a:extLst>
          </p:cNvPr>
          <p:cNvSpPr>
            <a:spLocks noGrp="1"/>
          </p:cNvSpPr>
          <p:nvPr>
            <p:ph type="sldNum" sz="quarter" idx="11"/>
          </p:nvPr>
        </p:nvSpPr>
        <p:spPr>
          <a:xfrm>
            <a:off x="411162" y="6310800"/>
            <a:ext cx="648000" cy="547200"/>
          </a:xfrm>
        </p:spPr>
        <p:txBody>
          <a:bodyPr/>
          <a:lstStyle/>
          <a:p>
            <a:r>
              <a:rPr lang="en-US" noProof="0"/>
              <a:t>Page </a:t>
            </a:r>
            <a:fld id="{15EBE321-CBB1-4E91-BD14-37C8D44326FB}" type="slidenum">
              <a:rPr lang="en-US" noProof="0" smtClean="0"/>
              <a:t>11</a:t>
            </a:fld>
            <a:endParaRPr lang="en-US" noProof="0"/>
          </a:p>
        </p:txBody>
      </p:sp>
      <p:grpSp>
        <p:nvGrpSpPr>
          <p:cNvPr id="5" name="Gruppieren 4">
            <a:extLst>
              <a:ext uri="{FF2B5EF4-FFF2-40B4-BE49-F238E27FC236}">
                <a16:creationId xmlns:a16="http://schemas.microsoft.com/office/drawing/2014/main" id="{71824844-3045-4BBF-825C-2CD65FB8DA8F}"/>
              </a:ext>
            </a:extLst>
          </p:cNvPr>
          <p:cNvGrpSpPr/>
          <p:nvPr/>
        </p:nvGrpSpPr>
        <p:grpSpPr>
          <a:xfrm rot="5400000">
            <a:off x="4332784" y="4857992"/>
            <a:ext cx="1440511" cy="173056"/>
            <a:chOff x="4914238" y="3916397"/>
            <a:chExt cx="906409" cy="120264"/>
          </a:xfrm>
        </p:grpSpPr>
        <p:cxnSp>
          <p:nvCxnSpPr>
            <p:cNvPr id="6" name="Gerader Verbinder 5">
              <a:extLst>
                <a:ext uri="{FF2B5EF4-FFF2-40B4-BE49-F238E27FC236}">
                  <a16:creationId xmlns:a16="http://schemas.microsoft.com/office/drawing/2014/main" id="{80526071-EE31-16BD-536A-4178CC6F87D0}"/>
                </a:ext>
              </a:extLst>
            </p:cNvPr>
            <p:cNvCxnSpPr>
              <a:cxnSpLocks/>
            </p:cNvCxnSpPr>
            <p:nvPr/>
          </p:nvCxnSpPr>
          <p:spPr>
            <a:xfrm>
              <a:off x="4914238" y="4026202"/>
              <a:ext cx="906409" cy="10459"/>
            </a:xfrm>
            <a:prstGeom prst="line">
              <a:avLst/>
            </a:prstGeom>
            <a:ln w="9525">
              <a:solidFill>
                <a:schemeClr val="accent1"/>
              </a:solidFill>
              <a:prstDash val="lgDashDotDot"/>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9E2BCBD6-3FE2-F27B-F6DD-6C415413F30B}"/>
                </a:ext>
              </a:extLst>
            </p:cNvPr>
            <p:cNvCxnSpPr>
              <a:cxnSpLocks/>
            </p:cNvCxnSpPr>
            <p:nvPr/>
          </p:nvCxnSpPr>
          <p:spPr>
            <a:xfrm>
              <a:off x="4914238" y="3916397"/>
              <a:ext cx="906409" cy="10459"/>
            </a:xfrm>
            <a:prstGeom prst="line">
              <a:avLst/>
            </a:prstGeom>
            <a:ln w="9525">
              <a:solidFill>
                <a:schemeClr val="accent1"/>
              </a:solidFill>
              <a:prstDash val="lgDashDotDot"/>
              <a:headEnd w="lg" len="lg"/>
              <a:tailEnd type="none" w="lg" len="lg"/>
            </a:ln>
          </p:spPr>
          <p:style>
            <a:lnRef idx="1">
              <a:schemeClr val="accent1"/>
            </a:lnRef>
            <a:fillRef idx="0">
              <a:schemeClr val="accent1"/>
            </a:fillRef>
            <a:effectRef idx="0">
              <a:schemeClr val="accent1"/>
            </a:effectRef>
            <a:fontRef idx="minor">
              <a:schemeClr val="tx1"/>
            </a:fontRef>
          </p:style>
        </p:cxnSp>
      </p:grpSp>
      <p:pic>
        <p:nvPicPr>
          <p:cNvPr id="9" name="Sinumill">
            <a:extLst>
              <a:ext uri="{FF2B5EF4-FFF2-40B4-BE49-F238E27FC236}">
                <a16:creationId xmlns:a16="http://schemas.microsoft.com/office/drawing/2014/main" id="{BE80C366-22C0-7063-FC6B-2D26B3D51317}"/>
              </a:ext>
            </a:extLst>
          </p:cNvPr>
          <p:cNvPicPr>
            <a:picLocks noChangeAspect="1"/>
          </p:cNvPicPr>
          <p:nvPr/>
        </p:nvPicPr>
        <p:blipFill rotWithShape="1">
          <a:blip r:embed="rId11"/>
          <a:srcRect l="26025" t="51390" r="52850" b="22746"/>
          <a:stretch/>
        </p:blipFill>
        <p:spPr>
          <a:xfrm>
            <a:off x="2494945" y="4944520"/>
            <a:ext cx="1686838" cy="1161745"/>
          </a:xfrm>
          <a:prstGeom prst="rect">
            <a:avLst/>
          </a:prstGeom>
        </p:spPr>
      </p:pic>
      <p:pic>
        <p:nvPicPr>
          <p:cNvPr id="10" name="Edge">
            <a:extLst>
              <a:ext uri="{FF2B5EF4-FFF2-40B4-BE49-F238E27FC236}">
                <a16:creationId xmlns:a16="http://schemas.microsoft.com/office/drawing/2014/main" id="{AC18A39D-1AFC-52A9-DAC1-9EE0D4EE2D9F}"/>
              </a:ext>
            </a:extLst>
          </p:cNvPr>
          <p:cNvPicPr>
            <a:picLocks noChangeAspect="1"/>
          </p:cNvPicPr>
          <p:nvPr/>
        </p:nvPicPr>
        <p:blipFill>
          <a:blip r:embed="rId12"/>
          <a:stretch>
            <a:fillRect/>
          </a:stretch>
        </p:blipFill>
        <p:spPr>
          <a:xfrm>
            <a:off x="4763545" y="5579788"/>
            <a:ext cx="626695" cy="369340"/>
          </a:xfrm>
          <a:prstGeom prst="rect">
            <a:avLst/>
          </a:prstGeom>
        </p:spPr>
      </p:pic>
      <p:pic>
        <p:nvPicPr>
          <p:cNvPr id="11" name="Icon-Schloss" descr="Ein Bild, das Nachthimmel enthält.&#10;&#10;Automatisch generierte Beschreibung">
            <a:extLst>
              <a:ext uri="{FF2B5EF4-FFF2-40B4-BE49-F238E27FC236}">
                <a16:creationId xmlns:a16="http://schemas.microsoft.com/office/drawing/2014/main" id="{52CB17C3-5BE4-0764-6ED2-341D3A1D99CF}"/>
              </a:ext>
            </a:extLst>
          </p:cNvPr>
          <p:cNvPicPr>
            <a:picLocks noChangeAspect="1"/>
          </p:cNvPicPr>
          <p:nvPr/>
        </p:nvPicPr>
        <p:blipFill rotWithShape="1">
          <a:blip r:embed="rId13"/>
          <a:srcRect l="34953" t="35178" r="60470" b="56364"/>
          <a:stretch/>
        </p:blipFill>
        <p:spPr>
          <a:xfrm>
            <a:off x="4880881" y="4811613"/>
            <a:ext cx="392019" cy="407378"/>
          </a:xfrm>
          <a:prstGeom prst="rect">
            <a:avLst/>
          </a:prstGeom>
        </p:spPr>
      </p:pic>
      <p:grpSp>
        <p:nvGrpSpPr>
          <p:cNvPr id="12" name="Gruppieren 11">
            <a:extLst>
              <a:ext uri="{FF2B5EF4-FFF2-40B4-BE49-F238E27FC236}">
                <a16:creationId xmlns:a16="http://schemas.microsoft.com/office/drawing/2014/main" id="{1F41A427-C927-41CA-7865-500412DD99B1}"/>
              </a:ext>
            </a:extLst>
          </p:cNvPr>
          <p:cNvGrpSpPr/>
          <p:nvPr/>
        </p:nvGrpSpPr>
        <p:grpSpPr>
          <a:xfrm>
            <a:off x="4129982" y="5703837"/>
            <a:ext cx="685365" cy="121241"/>
            <a:chOff x="4914238" y="3916397"/>
            <a:chExt cx="906409" cy="120264"/>
          </a:xfrm>
        </p:grpSpPr>
        <p:cxnSp>
          <p:nvCxnSpPr>
            <p:cNvPr id="13" name="Gerader Verbinder 12">
              <a:extLst>
                <a:ext uri="{FF2B5EF4-FFF2-40B4-BE49-F238E27FC236}">
                  <a16:creationId xmlns:a16="http://schemas.microsoft.com/office/drawing/2014/main" id="{E94A24A7-6594-686E-23E4-065DFB3608C4}"/>
                </a:ext>
              </a:extLst>
            </p:cNvPr>
            <p:cNvCxnSpPr>
              <a:cxnSpLocks/>
            </p:cNvCxnSpPr>
            <p:nvPr/>
          </p:nvCxnSpPr>
          <p:spPr>
            <a:xfrm>
              <a:off x="4914238" y="3916397"/>
              <a:ext cx="906409" cy="10459"/>
            </a:xfrm>
            <a:prstGeom prst="line">
              <a:avLst/>
            </a:prstGeom>
            <a:ln w="9525">
              <a:solidFill>
                <a:schemeClr val="accent1"/>
              </a:solidFill>
              <a:prstDash val="lgDashDotDot"/>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587915E2-1DD5-C8DF-F18A-93DCFD5B7242}"/>
                </a:ext>
              </a:extLst>
            </p:cNvPr>
            <p:cNvCxnSpPr>
              <a:cxnSpLocks/>
            </p:cNvCxnSpPr>
            <p:nvPr/>
          </p:nvCxnSpPr>
          <p:spPr>
            <a:xfrm>
              <a:off x="4914238" y="4026202"/>
              <a:ext cx="906409" cy="10459"/>
            </a:xfrm>
            <a:prstGeom prst="line">
              <a:avLst/>
            </a:prstGeom>
            <a:ln w="9525">
              <a:solidFill>
                <a:schemeClr val="accent1"/>
              </a:solidFill>
              <a:prstDash val="lgDashDotDot"/>
              <a:headEnd w="lg" len="lg"/>
              <a:tailEnd type="none" w="lg" len="lg"/>
            </a:ln>
          </p:spPr>
          <p:style>
            <a:lnRef idx="1">
              <a:schemeClr val="accent1"/>
            </a:lnRef>
            <a:fillRef idx="0">
              <a:schemeClr val="accent1"/>
            </a:fillRef>
            <a:effectRef idx="0">
              <a:schemeClr val="accent1"/>
            </a:effectRef>
            <a:fontRef idx="minor">
              <a:schemeClr val="tx1"/>
            </a:fontRef>
          </p:style>
        </p:cxnSp>
      </p:grpSp>
      <p:pic>
        <p:nvPicPr>
          <p:cNvPr id="15" name="Grafik 14" descr="Laptop mit einfarbiger Füllung">
            <a:extLst>
              <a:ext uri="{FF2B5EF4-FFF2-40B4-BE49-F238E27FC236}">
                <a16:creationId xmlns:a16="http://schemas.microsoft.com/office/drawing/2014/main" id="{CACE0D42-1385-3BBB-434D-12AA4589EBC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572424" y="3644695"/>
            <a:ext cx="1008935" cy="1008935"/>
          </a:xfrm>
          <a:prstGeom prst="rect">
            <a:avLst/>
          </a:prstGeom>
        </p:spPr>
      </p:pic>
      <p:pic>
        <p:nvPicPr>
          <p:cNvPr id="16" name="Grafik 15">
            <a:extLst>
              <a:ext uri="{FF2B5EF4-FFF2-40B4-BE49-F238E27FC236}">
                <a16:creationId xmlns:a16="http://schemas.microsoft.com/office/drawing/2014/main" id="{D62BD75C-E94A-1E40-5084-1FE822886214}"/>
              </a:ext>
            </a:extLst>
          </p:cNvPr>
          <p:cNvPicPr>
            <a:picLocks noChangeAspect="1"/>
          </p:cNvPicPr>
          <p:nvPr/>
        </p:nvPicPr>
        <p:blipFill rotWithShape="1">
          <a:blip r:embed="rId16"/>
          <a:srcRect l="-2526" t="3570" b="27660"/>
          <a:stretch/>
        </p:blipFill>
        <p:spPr>
          <a:xfrm>
            <a:off x="4763545" y="3913341"/>
            <a:ext cx="595118" cy="371164"/>
          </a:xfrm>
          <a:prstGeom prst="rect">
            <a:avLst/>
          </a:prstGeom>
        </p:spPr>
      </p:pic>
    </p:spTree>
    <p:custDataLst>
      <p:tags r:id="rId1"/>
    </p:custDataLst>
    <p:extLst>
      <p:ext uri="{BB962C8B-B14F-4D97-AF65-F5344CB8AC3E}">
        <p14:creationId xmlns:p14="http://schemas.microsoft.com/office/powerpoint/2010/main" val="7807282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A85BE52-74A9-4DE8-B395-E7BCE35EFC3C}"/>
              </a:ext>
            </a:extLst>
          </p:cNvPr>
          <p:cNvGraphicFramePr>
            <a:graphicFrameLocks noChangeAspect="1"/>
          </p:cNvGraphicFramePr>
          <p:nvPr>
            <p:custDataLst>
              <p:tags r:id="rId2"/>
            </p:custDataLst>
            <p:extLst>
              <p:ext uri="{D42A27DB-BD31-4B8C-83A1-F6EECF244321}">
                <p14:modId xmlns:p14="http://schemas.microsoft.com/office/powerpoint/2010/main" val="2527888790"/>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2" name="Objekt 1" hidden="1">
                        <a:extLst>
                          <a:ext uri="{FF2B5EF4-FFF2-40B4-BE49-F238E27FC236}">
                            <a16:creationId xmlns:a16="http://schemas.microsoft.com/office/drawing/2014/main" id="{6A85BE52-74A9-4DE8-B395-E7BCE35EFC3C}"/>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5" name="Titel 4"/>
          <p:cNvSpPr>
            <a:spLocks noGrp="1"/>
          </p:cNvSpPr>
          <p:nvPr>
            <p:ph type="title"/>
          </p:nvPr>
        </p:nvSpPr>
        <p:spPr bwMode="gray">
          <a:xfrm>
            <a:off x="410400" y="478800"/>
            <a:ext cx="9863997" cy="576000"/>
          </a:xfrm>
        </p:spPr>
        <p:txBody>
          <a:bodyPr vert="horz"/>
          <a:lstStyle/>
          <a:p>
            <a:r>
              <a:rPr lang="en-US"/>
              <a:t>Disclaimer</a:t>
            </a:r>
          </a:p>
        </p:txBody>
      </p:sp>
      <p:sp>
        <p:nvSpPr>
          <p:cNvPr id="4" name="Fußzeilenplatzhalter 3">
            <a:extLst>
              <a:ext uri="{FF2B5EF4-FFF2-40B4-BE49-F238E27FC236}">
                <a16:creationId xmlns:a16="http://schemas.microsoft.com/office/drawing/2014/main" id="{27BA3DD7-BF77-4BC4-B8FE-92BFD973A07A}"/>
              </a:ext>
            </a:extLst>
          </p:cNvPr>
          <p:cNvSpPr>
            <a:spLocks noGrp="1"/>
          </p:cNvSpPr>
          <p:nvPr>
            <p:ph type="ftr" sz="quarter" idx="10"/>
          </p:nvPr>
        </p:nvSpPr>
        <p:spPr/>
        <p:txBody>
          <a:bodyPr/>
          <a:lstStyle/>
          <a:p>
            <a:pPr>
              <a:lnSpc>
                <a:spcPct val="100000"/>
              </a:lnSpc>
            </a:pPr>
            <a:r>
              <a:rPr lang="en-US" noProof="0"/>
              <a:t>Unrestricted | © Siemens 2023 | MACHINUM</a:t>
            </a:r>
          </a:p>
        </p:txBody>
      </p:sp>
      <p:sp>
        <p:nvSpPr>
          <p:cNvPr id="7" name="Foliennummernplatzhalter 6">
            <a:extLst>
              <a:ext uri="{FF2B5EF4-FFF2-40B4-BE49-F238E27FC236}">
                <a16:creationId xmlns:a16="http://schemas.microsoft.com/office/drawing/2014/main" id="{FE41AB12-3A58-4862-A470-87E03F55C535}"/>
              </a:ext>
            </a:extLst>
          </p:cNvPr>
          <p:cNvSpPr>
            <a:spLocks noGrp="1"/>
          </p:cNvSpPr>
          <p:nvPr>
            <p:ph type="sldNum" sz="quarter" idx="11"/>
          </p:nvPr>
        </p:nvSpPr>
        <p:spPr/>
        <p:txBody>
          <a:bodyPr/>
          <a:lstStyle/>
          <a:p>
            <a:r>
              <a:rPr lang="en-US" noProof="0"/>
              <a:t>Page </a:t>
            </a:r>
            <a:fld id="{15EBE321-CBB1-4E91-BD14-37C8D44326FB}" type="slidenum">
              <a:rPr lang="en-US" noProof="0" smtClean="0"/>
              <a:pPr/>
              <a:t>12</a:t>
            </a:fld>
            <a:endParaRPr lang="en-US" noProof="0"/>
          </a:p>
        </p:txBody>
      </p:sp>
      <p:sp>
        <p:nvSpPr>
          <p:cNvPr id="8" name="Content Placeholder">
            <a:extLst>
              <a:ext uri="{FF2B5EF4-FFF2-40B4-BE49-F238E27FC236}">
                <a16:creationId xmlns:a16="http://schemas.microsoft.com/office/drawing/2014/main" id="{4D1EE4C3-41D8-4370-B406-F9BBA104F825}"/>
              </a:ext>
            </a:extLst>
          </p:cNvPr>
          <p:cNvSpPr txBox="1">
            <a:spLocks/>
          </p:cNvSpPr>
          <p:nvPr/>
        </p:nvSpPr>
        <p:spPr>
          <a:xfrm>
            <a:off x="411162" y="1414800"/>
            <a:ext cx="7199313" cy="4752000"/>
          </a:xfrm>
          <a:prstGeom prst="rect">
            <a:avLst/>
          </a:prstGeom>
        </p:spPr>
        <p:txBody>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a:t>© Siemens 2023</a:t>
            </a:r>
          </a:p>
          <a:p>
            <a:endParaRPr lang="en-US"/>
          </a:p>
          <a:p>
            <a:r>
              <a:rPr lang="en-US"/>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endParaRPr lang="en-US"/>
          </a:p>
          <a:p>
            <a:r>
              <a:rPr lang="en-US"/>
              <a:t>All product designations may be trademarks or other rights of </a:t>
            </a:r>
            <a:br>
              <a:rPr lang="en-US"/>
            </a:br>
            <a:r>
              <a:rPr lang="en-US"/>
              <a:t>Siemens AG, its affiliated companies or other companies whose use by third parties for their own purposes could violate the rights of the respective owner.</a:t>
            </a:r>
          </a:p>
        </p:txBody>
      </p:sp>
    </p:spTree>
    <p:custDataLst>
      <p:tags r:id="rId1"/>
    </p:custDataLst>
    <p:extLst>
      <p:ext uri="{BB962C8B-B14F-4D97-AF65-F5344CB8AC3E}">
        <p14:creationId xmlns:p14="http://schemas.microsoft.com/office/powerpoint/2010/main" val="32287185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7911AE4-9DF0-4FE9-9AE0-2F6B6ECE6D56}"/>
              </a:ext>
            </a:extLst>
          </p:cNvPr>
          <p:cNvGraphicFramePr>
            <a:graphicFrameLocks noChangeAspect="1"/>
          </p:cNvGraphicFramePr>
          <p:nvPr>
            <p:custDataLst>
              <p:tags r:id="rId2"/>
            </p:custDataLst>
            <p:extLst>
              <p:ext uri="{D42A27DB-BD31-4B8C-83A1-F6EECF244321}">
                <p14:modId xmlns:p14="http://schemas.microsoft.com/office/powerpoint/2010/main" val="3721439922"/>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6" name="Objekt 5" hidden="1">
                        <a:extLst>
                          <a:ext uri="{FF2B5EF4-FFF2-40B4-BE49-F238E27FC236}">
                            <a16:creationId xmlns:a16="http://schemas.microsoft.com/office/drawing/2014/main" id="{D7911AE4-9DF0-4FE9-9AE0-2F6B6ECE6D56}"/>
                          </a:ext>
                        </a:extLst>
                      </p:cNvPr>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A84E381-1E26-4AF1-9FDD-E57C5C6B648B}"/>
              </a:ext>
            </a:extLst>
          </p:cNvPr>
          <p:cNvSpPr/>
          <p:nvPr>
            <p:custDataLst>
              <p:tags r:id="rId3"/>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199" b="1">
              <a:solidFill>
                <a:srgbClr val="000000"/>
              </a:solidFill>
              <a:ea typeface="+mj-ea"/>
              <a:cs typeface="Arial" panose="020B0604020202020204" pitchFamily="34" charset="0"/>
              <a:sym typeface="Arial" panose="020B0604020202020204" pitchFamily="34" charset="0"/>
            </a:endParaRPr>
          </a:p>
        </p:txBody>
      </p:sp>
      <p:sp>
        <p:nvSpPr>
          <p:cNvPr id="3" name="Rechteck 2"/>
          <p:cNvSpPr/>
          <p:nvPr/>
        </p:nvSpPr>
        <p:spPr>
          <a:xfrm>
            <a:off x="416562" y="1422083"/>
            <a:ext cx="8985856" cy="4045082"/>
          </a:xfrm>
          <a:prstGeom prst="rect">
            <a:avLst/>
          </a:prstGeom>
        </p:spPr>
        <p:txBody>
          <a:bodyPr wrap="square" lIns="0" tIns="0" rIns="0" bIns="0">
            <a:spAutoFit/>
          </a:bodyPr>
          <a:lstStyle/>
          <a:p>
            <a:pPr>
              <a:spcBef>
                <a:spcPts val="600"/>
              </a:spcBef>
            </a:pPr>
            <a:r>
              <a:rPr lang="en-US" sz="1399">
                <a:solidFill>
                  <a:schemeClr val="dk1"/>
                </a:solidFill>
              </a:rPr>
              <a:t>Siemens provides products and solutions with industrial security functions that support the secure operation of plants, systems, machines and networks.</a:t>
            </a:r>
          </a:p>
          <a:p>
            <a:pPr>
              <a:spcBef>
                <a:spcPts val="600"/>
              </a:spcBef>
            </a:pPr>
            <a:r>
              <a:rPr lang="en-US" sz="1399">
                <a:solidFill>
                  <a:schemeClr val="dk1"/>
                </a:solidFill>
              </a:rPr>
              <a:t>In order to protect plants, systems, machines and networks against cyber threats, it is necessary to implement – and continuously maintain – a holistic, state-of-the-art industrial security concept. Siemens’ products and solutions constitute one element of such a concept.</a:t>
            </a:r>
          </a:p>
          <a:p>
            <a:pPr>
              <a:spcBef>
                <a:spcPts val="600"/>
              </a:spcBef>
            </a:pPr>
            <a:r>
              <a:rPr lang="en-US" sz="1399">
                <a:solidFill>
                  <a:schemeClr val="dk1"/>
                </a:solidFill>
              </a:rPr>
              <a:t>Customers are responsible for preventing unauthorized access to their plants, systems, machines and networks. Such systems, machines and components should only be connected to an enterprise network or the internet if and to the extent such a connection is necessary and only when appropriate security measures (e.g. firewalls and/or network segmentation) are in place.</a:t>
            </a:r>
          </a:p>
          <a:p>
            <a:pPr>
              <a:spcBef>
                <a:spcPts val="600"/>
              </a:spcBef>
            </a:pPr>
            <a:r>
              <a:rPr lang="en-US" sz="1399">
                <a:solidFill>
                  <a:schemeClr val="dk1"/>
                </a:solidFill>
              </a:rPr>
              <a:t>For additional information on industrial security measures that may be implemented, please visit </a:t>
            </a:r>
            <a:r>
              <a:rPr lang="en-US" sz="1399">
                <a:solidFill>
                  <a:srgbClr val="00BEDC"/>
                </a:solidFill>
                <a:hlinkClick r:id="rId8"/>
              </a:rPr>
              <a:t>https://www.siemens.com/industrialsecurity</a:t>
            </a:r>
            <a:r>
              <a:rPr lang="en-US" sz="1399"/>
              <a:t>.</a:t>
            </a:r>
          </a:p>
          <a:p>
            <a:pPr>
              <a:spcBef>
                <a:spcPts val="600"/>
              </a:spcBef>
            </a:pPr>
            <a:r>
              <a:rPr lang="en-US" sz="1399">
                <a:solidFill>
                  <a:schemeClr val="dk1"/>
                </a:solidFill>
              </a:rPr>
              <a:t>Siemens’ products and solutions undergo continuous development to make them more secure. Siemens strongly recommends that product updates are applied as soon as they are available and that the latest product versions are used. Use of product versions that are no longer supported, and failure to apply the latest updates may increase customer’s exposure to cyber threats.</a:t>
            </a:r>
          </a:p>
          <a:p>
            <a:pPr>
              <a:spcBef>
                <a:spcPts val="600"/>
              </a:spcBef>
            </a:pPr>
            <a:r>
              <a:rPr lang="en-US" sz="1399">
                <a:solidFill>
                  <a:schemeClr val="dk1"/>
                </a:solidFill>
              </a:rPr>
              <a:t>To stay informed about product updates, subscribe to the Siemens Industrial Security RSS Feed under </a:t>
            </a:r>
            <a:r>
              <a:rPr lang="en-US" sz="1399">
                <a:solidFill>
                  <a:schemeClr val="dk1"/>
                </a:solidFill>
                <a:hlinkClick r:id="rId8"/>
              </a:rPr>
              <a:t>https://www.siemens.com/industrialsecurity</a:t>
            </a:r>
            <a:r>
              <a:rPr lang="en-US" sz="1399">
                <a:solidFill>
                  <a:schemeClr val="dk1"/>
                </a:solidFill>
              </a:rPr>
              <a:t>.</a:t>
            </a:r>
          </a:p>
        </p:txBody>
      </p:sp>
      <p:sp>
        <p:nvSpPr>
          <p:cNvPr id="7" name="Titel 6">
            <a:extLst>
              <a:ext uri="{FF2B5EF4-FFF2-40B4-BE49-F238E27FC236}">
                <a16:creationId xmlns:a16="http://schemas.microsoft.com/office/drawing/2014/main" id="{CC7D41CB-75B8-4B11-8286-E6A383953A3E}"/>
              </a:ext>
            </a:extLst>
          </p:cNvPr>
          <p:cNvSpPr>
            <a:spLocks noGrp="1"/>
          </p:cNvSpPr>
          <p:nvPr>
            <p:ph type="title"/>
          </p:nvPr>
        </p:nvSpPr>
        <p:spPr>
          <a:xfrm>
            <a:off x="410400" y="478800"/>
            <a:ext cx="9863997" cy="576000"/>
          </a:xfrm>
        </p:spPr>
        <p:txBody>
          <a:bodyPr vert="horz"/>
          <a:lstStyle/>
          <a:p>
            <a:r>
              <a:rPr lang="en-US"/>
              <a:t>Security Information </a:t>
            </a:r>
          </a:p>
        </p:txBody>
      </p:sp>
      <p:sp>
        <p:nvSpPr>
          <p:cNvPr id="5" name="Fußzeilenplatzhalter 4">
            <a:extLst>
              <a:ext uri="{FF2B5EF4-FFF2-40B4-BE49-F238E27FC236}">
                <a16:creationId xmlns:a16="http://schemas.microsoft.com/office/drawing/2014/main" id="{C40B8066-7DEF-4019-9041-E72D63478A50}"/>
              </a:ext>
            </a:extLst>
          </p:cNvPr>
          <p:cNvSpPr>
            <a:spLocks noGrp="1"/>
          </p:cNvSpPr>
          <p:nvPr>
            <p:ph type="ftr" sz="quarter" idx="10"/>
          </p:nvPr>
        </p:nvSpPr>
        <p:spPr/>
        <p:txBody>
          <a:bodyPr/>
          <a:lstStyle/>
          <a:p>
            <a:pPr>
              <a:lnSpc>
                <a:spcPct val="100000"/>
              </a:lnSpc>
            </a:pPr>
            <a:r>
              <a:rPr lang="en-US" noProof="0"/>
              <a:t>Unrestricted | © Siemens 2023 | MACHINUM</a:t>
            </a:r>
          </a:p>
        </p:txBody>
      </p:sp>
      <p:sp>
        <p:nvSpPr>
          <p:cNvPr id="8" name="Foliennummernplatzhalter 7">
            <a:extLst>
              <a:ext uri="{FF2B5EF4-FFF2-40B4-BE49-F238E27FC236}">
                <a16:creationId xmlns:a16="http://schemas.microsoft.com/office/drawing/2014/main" id="{6A15AE91-7090-4B06-A644-DC4BC038BDC6}"/>
              </a:ext>
            </a:extLst>
          </p:cNvPr>
          <p:cNvSpPr>
            <a:spLocks noGrp="1"/>
          </p:cNvSpPr>
          <p:nvPr>
            <p:ph type="sldNum" sz="quarter" idx="11"/>
          </p:nvPr>
        </p:nvSpPr>
        <p:spPr/>
        <p:txBody>
          <a:bodyPr/>
          <a:lstStyle/>
          <a:p>
            <a:r>
              <a:rPr lang="en-US" noProof="0"/>
              <a:t>Page </a:t>
            </a:r>
            <a:fld id="{15EBE321-CBB1-4E91-BD14-37C8D44326FB}" type="slidenum">
              <a:rPr lang="en-US" noProof="0" smtClean="0"/>
              <a:pPr/>
              <a:t>13</a:t>
            </a:fld>
            <a:endParaRPr lang="en-US" noProof="0"/>
          </a:p>
        </p:txBody>
      </p:sp>
    </p:spTree>
    <p:custDataLst>
      <p:tags r:id="rId1"/>
    </p:custDataLst>
    <p:extLst>
      <p:ext uri="{BB962C8B-B14F-4D97-AF65-F5344CB8AC3E}">
        <p14:creationId xmlns:p14="http://schemas.microsoft.com/office/powerpoint/2010/main" val="3875509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530919-37CE-4281-9024-C2846FA52F6E}"/>
              </a:ext>
            </a:extLst>
          </p:cNvPr>
          <p:cNvGraphicFramePr>
            <a:graphicFrameLocks noChangeAspect="1"/>
          </p:cNvGraphicFramePr>
          <p:nvPr>
            <p:custDataLst>
              <p:tags r:id="rId1"/>
            </p:custDataLst>
            <p:extLst>
              <p:ext uri="{D42A27DB-BD31-4B8C-83A1-F6EECF244321}">
                <p14:modId xmlns:p14="http://schemas.microsoft.com/office/powerpoint/2010/main" val="2457660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42" imgH="442" progId="TCLayout.ActiveDocument.1">
                  <p:embed/>
                </p:oleObj>
              </mc:Choice>
              <mc:Fallback>
                <p:oleObj name="think-cell Folie" r:id="rId4" imgW="442" imgH="442" progId="TCLayout.ActiveDocument.1">
                  <p:embed/>
                  <p:pic>
                    <p:nvPicPr>
                      <p:cNvPr id="9" name="Objekt 8" hidden="1">
                        <a:extLst>
                          <a:ext uri="{FF2B5EF4-FFF2-40B4-BE49-F238E27FC236}">
                            <a16:creationId xmlns:a16="http://schemas.microsoft.com/office/drawing/2014/main" id="{A3530919-37CE-4281-9024-C2846FA52F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DA865AB3-8AE0-4AB0-94C2-2E517EC147DE}"/>
              </a:ext>
            </a:extLst>
          </p:cNvPr>
          <p:cNvSpPr>
            <a:spLocks noGrp="1"/>
          </p:cNvSpPr>
          <p:nvPr>
            <p:ph type="title"/>
          </p:nvPr>
        </p:nvSpPr>
        <p:spPr>
          <a:xfrm>
            <a:off x="410400" y="1414464"/>
            <a:ext cx="11376788" cy="2462213"/>
          </a:xfrm>
        </p:spPr>
        <p:txBody>
          <a:bodyPr vert="horz"/>
          <a:lstStyle/>
          <a:p>
            <a:r>
              <a:rPr lang="en-US" sz="4000" dirty="0"/>
              <a:t>Analyze MyWorkpiece </a:t>
            </a:r>
            <a:br>
              <a:rPr lang="en-US" sz="4000" dirty="0"/>
            </a:br>
            <a:r>
              <a:rPr lang="en-US" sz="4000" dirty="0"/>
              <a:t>/Toolpath, Chiron Group SE – </a:t>
            </a:r>
            <a:br>
              <a:rPr lang="en-US" sz="4000" dirty="0"/>
            </a:br>
            <a:r>
              <a:rPr lang="en-US" sz="4000" dirty="0"/>
              <a:t>P</a:t>
            </a:r>
            <a:r>
              <a:rPr lang="de-DE" sz="4000" dirty="0" err="1"/>
              <a:t>rocess</a:t>
            </a:r>
            <a:r>
              <a:rPr lang="de-DE" sz="4000" dirty="0"/>
              <a:t> </a:t>
            </a:r>
            <a:r>
              <a:rPr lang="de-DE" sz="4000" dirty="0" err="1"/>
              <a:t>optimization</a:t>
            </a:r>
            <a:r>
              <a:rPr lang="de-DE" sz="4000" dirty="0"/>
              <a:t> </a:t>
            </a:r>
            <a:r>
              <a:rPr lang="de-DE" sz="4000" dirty="0" err="1"/>
              <a:t>through</a:t>
            </a:r>
            <a:r>
              <a:rPr lang="de-DE" sz="4000" dirty="0"/>
              <a:t> </a:t>
            </a:r>
            <a:r>
              <a:rPr lang="de-DE" sz="4000" dirty="0" err="1"/>
              <a:t>part</a:t>
            </a:r>
            <a:r>
              <a:rPr lang="de-DE" sz="4000" dirty="0"/>
              <a:t> </a:t>
            </a:r>
            <a:r>
              <a:rPr lang="de-DE" sz="4000" dirty="0" err="1"/>
              <a:t>program</a:t>
            </a:r>
            <a:r>
              <a:rPr lang="de-DE" sz="4000" dirty="0"/>
              <a:t> </a:t>
            </a:r>
            <a:r>
              <a:rPr lang="de-DE" sz="4000" dirty="0" err="1"/>
              <a:t>analysis</a:t>
            </a:r>
            <a:r>
              <a:rPr lang="de-DE" sz="4000" dirty="0"/>
              <a:t> and </a:t>
            </a:r>
            <a:r>
              <a:rPr lang="de-DE" sz="4000" dirty="0" err="1"/>
              <a:t>the</a:t>
            </a:r>
            <a:r>
              <a:rPr lang="de-DE" sz="4000" dirty="0"/>
              <a:t> digital </a:t>
            </a:r>
            <a:r>
              <a:rPr lang="de-DE" sz="4000" dirty="0" err="1"/>
              <a:t>twin</a:t>
            </a:r>
            <a:endParaRPr lang="en-US" sz="4000" b="0" dirty="0"/>
          </a:p>
        </p:txBody>
      </p:sp>
      <p:sp>
        <p:nvSpPr>
          <p:cNvPr id="17" name="Subtitle">
            <a:extLst>
              <a:ext uri="{FF2B5EF4-FFF2-40B4-BE49-F238E27FC236}">
                <a16:creationId xmlns:a16="http://schemas.microsoft.com/office/drawing/2014/main" id="{9F1C4C08-3D5C-4C0E-914A-F70CA07D0654}"/>
              </a:ext>
            </a:extLst>
          </p:cNvPr>
          <p:cNvSpPr>
            <a:spLocks noGrp="1"/>
          </p:cNvSpPr>
          <p:nvPr>
            <p:ph type="subTitle" idx="1"/>
          </p:nvPr>
        </p:nvSpPr>
        <p:spPr/>
        <p:txBody>
          <a:bodyPr/>
          <a:lstStyle/>
          <a:p>
            <a:pPr lvl="1"/>
            <a:r>
              <a:rPr lang="en-US"/>
              <a:t>Digital Industries</a:t>
            </a:r>
          </a:p>
        </p:txBody>
      </p:sp>
      <p:sp>
        <p:nvSpPr>
          <p:cNvPr id="2" name="Footer Placeholder">
            <a:extLst>
              <a:ext uri="{FF2B5EF4-FFF2-40B4-BE49-F238E27FC236}">
                <a16:creationId xmlns:a16="http://schemas.microsoft.com/office/drawing/2014/main" id="{8FDA17C2-CC0D-4A70-A1C4-4DAA44F64772}"/>
              </a:ext>
            </a:extLst>
          </p:cNvPr>
          <p:cNvSpPr>
            <a:spLocks noGrp="1"/>
          </p:cNvSpPr>
          <p:nvPr>
            <p:ph type="ftr" sz="quarter" idx="12"/>
          </p:nvPr>
        </p:nvSpPr>
        <p:spPr/>
        <p:txBody>
          <a:bodyPr/>
          <a:lstStyle/>
          <a:p>
            <a:r>
              <a:rPr lang="en-US"/>
              <a:t>Unrestricted | © Siemens 2023 | MACHINUM</a:t>
            </a:r>
          </a:p>
        </p:txBody>
      </p:sp>
    </p:spTree>
    <p:extLst>
      <p:ext uri="{BB962C8B-B14F-4D97-AF65-F5344CB8AC3E}">
        <p14:creationId xmlns:p14="http://schemas.microsoft.com/office/powerpoint/2010/main" val="14106490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ieren 6">
            <a:extLst>
              <a:ext uri="{FF2B5EF4-FFF2-40B4-BE49-F238E27FC236}">
                <a16:creationId xmlns:a16="http://schemas.microsoft.com/office/drawing/2014/main" id="{987C2F5A-B3B3-4ABC-9C09-98C55C3DCA40}"/>
              </a:ext>
            </a:extLst>
          </p:cNvPr>
          <p:cNvGrpSpPr/>
          <p:nvPr/>
        </p:nvGrpSpPr>
        <p:grpSpPr>
          <a:xfrm>
            <a:off x="8307658" y="0"/>
            <a:ext cx="3884341" cy="6858000"/>
            <a:chOff x="7822431" y="0"/>
            <a:chExt cx="4342947" cy="6858000"/>
          </a:xfrm>
        </p:grpSpPr>
        <p:pic>
          <p:nvPicPr>
            <p:cNvPr id="16" name="Grafik 15">
              <a:extLst>
                <a:ext uri="{FF2B5EF4-FFF2-40B4-BE49-F238E27FC236}">
                  <a16:creationId xmlns:a16="http://schemas.microsoft.com/office/drawing/2014/main" id="{1D56DB98-BB46-48AB-B354-DB38B92331B3}"/>
                </a:ext>
              </a:extLst>
            </p:cNvPr>
            <p:cNvPicPr>
              <a:picLocks noChangeAspect="1"/>
            </p:cNvPicPr>
            <p:nvPr/>
          </p:nvPicPr>
          <p:blipFill rotWithShape="1">
            <a:blip r:embed="rId5">
              <a:extLst>
                <a:ext uri="{28A0092B-C50C-407E-A947-70E740481C1C}">
                  <a14:useLocalDpi xmlns:a14="http://schemas.microsoft.com/office/drawing/2010/main" val="0"/>
                </a:ext>
              </a:extLst>
            </a:blip>
            <a:srcRect l="7820" t="9752" r="25572"/>
            <a:stretch/>
          </p:blipFill>
          <p:spPr bwMode="auto">
            <a:xfrm>
              <a:off x="7822431" y="0"/>
              <a:ext cx="4342947" cy="6858000"/>
            </a:xfrm>
            <a:prstGeom prst="rect">
              <a:avLst/>
            </a:prstGeom>
            <a:noFill/>
            <a:ln>
              <a:noFill/>
            </a:ln>
          </p:spPr>
        </p:pic>
        <p:sp>
          <p:nvSpPr>
            <p:cNvPr id="6" name="Rechteck 5">
              <a:extLst>
                <a:ext uri="{FF2B5EF4-FFF2-40B4-BE49-F238E27FC236}">
                  <a16:creationId xmlns:a16="http://schemas.microsoft.com/office/drawing/2014/main" id="{ED5D4FF0-FDA5-4DAE-A6B3-B1D393861F3E}"/>
                </a:ext>
              </a:extLst>
            </p:cNvPr>
            <p:cNvSpPr/>
            <p:nvPr/>
          </p:nvSpPr>
          <p:spPr>
            <a:xfrm>
              <a:off x="9066883" y="4702627"/>
              <a:ext cx="501660" cy="210895"/>
            </a:xfrm>
            <a:prstGeom prst="rect">
              <a:avLst/>
            </a:prstGeom>
            <a:solidFill>
              <a:srgbClr val="BEB9B3"/>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solidFill>
                  <a:schemeClr val="lt1">
                    <a:alpha val="69000"/>
                  </a:schemeClr>
                </a:solidFill>
              </a:endParaRPr>
            </a:p>
          </p:txBody>
        </p:sp>
        <p:sp>
          <p:nvSpPr>
            <p:cNvPr id="17" name="Rechteck 16">
              <a:extLst>
                <a:ext uri="{FF2B5EF4-FFF2-40B4-BE49-F238E27FC236}">
                  <a16:creationId xmlns:a16="http://schemas.microsoft.com/office/drawing/2014/main" id="{81B12B84-29B1-40F7-89E5-ADFDA37937B2}"/>
                </a:ext>
              </a:extLst>
            </p:cNvPr>
            <p:cNvSpPr/>
            <p:nvPr/>
          </p:nvSpPr>
          <p:spPr>
            <a:xfrm>
              <a:off x="9007142" y="4645153"/>
              <a:ext cx="157949" cy="336498"/>
            </a:xfrm>
            <a:prstGeom prst="rect">
              <a:avLst/>
            </a:prstGeom>
            <a:solidFill>
              <a:srgbClr val="C4C1BA"/>
            </a:solidFill>
            <a:ln>
              <a:no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solidFill>
                  <a:schemeClr val="lt1">
                    <a:alpha val="69000"/>
                  </a:schemeClr>
                </a:solidFill>
              </a:endParaRPr>
            </a:p>
          </p:txBody>
        </p:sp>
        <p:sp>
          <p:nvSpPr>
            <p:cNvPr id="18" name="Rechteck 17">
              <a:extLst>
                <a:ext uri="{FF2B5EF4-FFF2-40B4-BE49-F238E27FC236}">
                  <a16:creationId xmlns:a16="http://schemas.microsoft.com/office/drawing/2014/main" id="{6691710C-9496-43A1-B99C-AFF8C7F7D64E}"/>
                </a:ext>
              </a:extLst>
            </p:cNvPr>
            <p:cNvSpPr/>
            <p:nvPr/>
          </p:nvSpPr>
          <p:spPr>
            <a:xfrm>
              <a:off x="9348827" y="4645153"/>
              <a:ext cx="279457" cy="336498"/>
            </a:xfrm>
            <a:prstGeom prst="rect">
              <a:avLst/>
            </a:prstGeom>
            <a:solidFill>
              <a:srgbClr val="AFABA8"/>
            </a:solidFill>
            <a:ln>
              <a:noFill/>
            </a:ln>
            <a:effectLst>
              <a:softEdge rad="50800"/>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solidFill>
                  <a:schemeClr val="lt1">
                    <a:alpha val="69000"/>
                  </a:schemeClr>
                </a:solidFill>
              </a:endParaRPr>
            </a:p>
          </p:txBody>
        </p:sp>
      </p:grpSp>
      <p:graphicFrame>
        <p:nvGraphicFramePr>
          <p:cNvPr id="5" name="Objekt 4" hidden="1">
            <a:extLst>
              <a:ext uri="{FF2B5EF4-FFF2-40B4-BE49-F238E27FC236}">
                <a16:creationId xmlns:a16="http://schemas.microsoft.com/office/drawing/2014/main" id="{8D385CD3-70CB-4A82-ABAE-464C3C7BA74C}"/>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5" name="Objekt 4" hidden="1">
                        <a:extLst>
                          <a:ext uri="{FF2B5EF4-FFF2-40B4-BE49-F238E27FC236}">
                            <a16:creationId xmlns:a16="http://schemas.microsoft.com/office/drawing/2014/main" id="{8D385CD3-70CB-4A82-ABAE-464C3C7BA74C}"/>
                          </a:ext>
                        </a:extLst>
                      </p:cNvPr>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E616232-408A-4F98-BE7B-D6CE984617CC}"/>
              </a:ext>
            </a:extLst>
          </p:cNvPr>
          <p:cNvSpPr/>
          <p:nvPr>
            <p:custDataLst>
              <p:tags r:id="rId2"/>
            </p:custDataLst>
          </p:nvPr>
        </p:nvSpPr>
        <p:spPr bwMode="gray">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algn="ctr">
              <a:lnSpc>
                <a:spcPct val="110000"/>
              </a:lnSpc>
              <a:spcBef>
                <a:spcPct val="0"/>
              </a:spcBef>
              <a:buFont typeface="Wingdings" charset="0"/>
              <a:buNone/>
            </a:pPr>
            <a:endParaRPr lang="en-US" sz="2199" b="1">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98111AA2-3CBB-47E0-8C89-76EBC5B76A0A}"/>
              </a:ext>
            </a:extLst>
          </p:cNvPr>
          <p:cNvSpPr>
            <a:spLocks noGrp="1"/>
          </p:cNvSpPr>
          <p:nvPr>
            <p:ph type="title"/>
          </p:nvPr>
        </p:nvSpPr>
        <p:spPr bwMode="gray">
          <a:xfrm>
            <a:off x="410400" y="478800"/>
            <a:ext cx="9863997" cy="576000"/>
          </a:xfrm>
        </p:spPr>
        <p:txBody>
          <a:bodyPr vert="horz"/>
          <a:lstStyle/>
          <a:p>
            <a:r>
              <a:rPr lang="de-DE"/>
              <a:t>Analyze MyWorkpiece /Toolpath, Chiron Group SE - </a:t>
            </a:r>
            <a:br>
              <a:rPr lang="de-DE"/>
            </a:br>
            <a:r>
              <a:rPr lang="de-DE" sz="2000">
                <a:latin typeface="Arial" panose="020B0604020202020204" pitchFamily="34" charset="0"/>
              </a:rPr>
              <a:t>Improve process stability </a:t>
            </a:r>
            <a:r>
              <a:rPr lang="de-DE">
                <a:latin typeface="Arial" panose="020B0604020202020204" pitchFamily="34" charset="0"/>
              </a:rPr>
              <a:t>and reduce cycle times</a:t>
            </a:r>
            <a:endParaRPr lang="de-DE" b="0"/>
          </a:p>
        </p:txBody>
      </p:sp>
      <p:graphicFrame>
        <p:nvGraphicFramePr>
          <p:cNvPr id="10" name="Table 11">
            <a:extLst>
              <a:ext uri="{FF2B5EF4-FFF2-40B4-BE49-F238E27FC236}">
                <a16:creationId xmlns:a16="http://schemas.microsoft.com/office/drawing/2014/main" id="{F02B6DB2-0D57-4592-BC60-FCF13DF4243F}"/>
              </a:ext>
            </a:extLst>
          </p:cNvPr>
          <p:cNvGraphicFramePr>
            <a:graphicFrameLocks noGrp="1"/>
          </p:cNvGraphicFramePr>
          <p:nvPr>
            <p:extLst>
              <p:ext uri="{D42A27DB-BD31-4B8C-83A1-F6EECF244321}">
                <p14:modId xmlns:p14="http://schemas.microsoft.com/office/powerpoint/2010/main" val="4147036329"/>
              </p:ext>
            </p:extLst>
          </p:nvPr>
        </p:nvGraphicFramePr>
        <p:xfrm>
          <a:off x="379914" y="1358131"/>
          <a:ext cx="7297220" cy="4824955"/>
        </p:xfrm>
        <a:graphic>
          <a:graphicData uri="http://schemas.openxmlformats.org/drawingml/2006/table">
            <a:tbl>
              <a:tblPr firstRow="1" bandRow="1">
                <a:tableStyleId>{5C22544A-7EE6-4342-B048-85BDC9FD1C3A}</a:tableStyleId>
              </a:tblPr>
              <a:tblGrid>
                <a:gridCol w="1235069">
                  <a:extLst>
                    <a:ext uri="{9D8B030D-6E8A-4147-A177-3AD203B41FA5}">
                      <a16:colId xmlns:a16="http://schemas.microsoft.com/office/drawing/2014/main" val="20000"/>
                    </a:ext>
                  </a:extLst>
                </a:gridCol>
                <a:gridCol w="6062151">
                  <a:extLst>
                    <a:ext uri="{9D8B030D-6E8A-4147-A177-3AD203B41FA5}">
                      <a16:colId xmlns:a16="http://schemas.microsoft.com/office/drawing/2014/main" val="20001"/>
                    </a:ext>
                  </a:extLst>
                </a:gridCol>
              </a:tblGrid>
              <a:tr h="575628">
                <a:tc>
                  <a:txBody>
                    <a:bodyPr/>
                    <a:lstStyle/>
                    <a:p>
                      <a:pPr rtl="0">
                        <a:lnSpc>
                          <a:spcPct val="100000"/>
                        </a:lnSpc>
                      </a:pPr>
                      <a:r>
                        <a:rPr lang="de-DE" sz="1400" b="1" strike="noStrike" baseline="0" noProof="0">
                          <a:solidFill>
                            <a:schemeClr val="bg1"/>
                          </a:solidFill>
                        </a:rPr>
                        <a:t>Customer</a:t>
                      </a:r>
                    </a:p>
                    <a:p>
                      <a:pPr rtl="0">
                        <a:lnSpc>
                          <a:spcPct val="100000"/>
                        </a:lnSpc>
                      </a:pPr>
                      <a:r>
                        <a:rPr lang="de-DE" sz="1400" b="1" strike="noStrike" baseline="0" noProof="0" err="1">
                          <a:solidFill>
                            <a:schemeClr val="bg1"/>
                          </a:solidFill>
                        </a:rPr>
                        <a:t>profile</a:t>
                      </a:r>
                      <a:endParaRPr lang="de-DE" sz="1400" b="1" strike="noStrike" baseline="0" noProof="0">
                        <a:solidFill>
                          <a:schemeClr val="bg1"/>
                        </a:solidFill>
                      </a:endParaRPr>
                    </a:p>
                  </a:txBody>
                  <a:tcPr marL="108000" marR="108000" marT="72000" marB="71963">
                    <a:lnL w="12700" cmpd="sng">
                      <a:noFill/>
                    </a:lnL>
                    <a:lnR w="381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rtl="0" eaLnBrk="1" fontAlgn="auto" latinLnBrk="0" hangingPunct="1">
                        <a:lnSpc>
                          <a:spcPct val="100000"/>
                        </a:lnSpc>
                        <a:spcBef>
                          <a:spcPts val="0"/>
                        </a:spcBef>
                        <a:spcAft>
                          <a:spcPts val="0"/>
                        </a:spcAft>
                        <a:buClr>
                          <a:schemeClr val="accent1"/>
                        </a:buClr>
                        <a:buSzTx/>
                        <a:buFont typeface="Arial" panose="020B0604020202020204" pitchFamily="34" charset="0"/>
                        <a:buNone/>
                      </a:pPr>
                      <a:r>
                        <a:rPr lang="en-US" sz="1400" b="0" strike="noStrike" baseline="0" noProof="0">
                          <a:solidFill>
                            <a:schemeClr val="tx1"/>
                          </a:solidFill>
                        </a:rPr>
                        <a:t>Chiron Group SE is a specialist for vertical milling and mill-turning machining centers as well as for turnkey and automation competence.</a:t>
                      </a:r>
                      <a:endParaRPr lang="de-DE"/>
                    </a:p>
                  </a:txBody>
                  <a:tcPr marL="108000" marR="108000" marT="71963" marB="71963">
                    <a:lnL w="38100" cap="flat" cmpd="sng" algn="ctr">
                      <a:noFill/>
                      <a:prstDash val="solid"/>
                      <a:round/>
                      <a:headEnd type="none" w="med" len="med"/>
                      <a:tailEnd type="none" w="med" len="med"/>
                    </a:lnL>
                    <a:lnR w="12700" cmpd="sng">
                      <a:noFill/>
                    </a:lnR>
                    <a:lnT w="12700" cmpd="sng">
                      <a:noFill/>
                    </a:lnT>
                    <a:lnB w="9525"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90800">
                <a:tc>
                  <a:txBody>
                    <a:bodyPr/>
                    <a:lstStyle/>
                    <a:p>
                      <a:pPr marL="0" indent="0" rtl="0">
                        <a:lnSpc>
                          <a:spcPct val="100000"/>
                        </a:lnSpc>
                        <a:spcBef>
                          <a:spcPts val="0"/>
                        </a:spcBef>
                        <a:buClr>
                          <a:schemeClr val="accent1"/>
                        </a:buClr>
                        <a:buFontTx/>
                        <a:buNone/>
                      </a:pPr>
                      <a:r>
                        <a:rPr lang="de-DE" sz="1400" b="1" noProof="0">
                          <a:solidFill>
                            <a:schemeClr val="bg1"/>
                          </a:solidFill>
                        </a:rPr>
                        <a:t>Customer </a:t>
                      </a:r>
                      <a:r>
                        <a:rPr lang="de-DE" sz="1400" b="1" noProof="0" err="1">
                          <a:solidFill>
                            <a:schemeClr val="bg1"/>
                          </a:solidFill>
                        </a:rPr>
                        <a:t>objectives</a:t>
                      </a:r>
                      <a:endParaRPr lang="de-DE" sz="1400" b="1" noProof="0">
                        <a:solidFill>
                          <a:schemeClr val="bg1"/>
                        </a:solidFill>
                      </a:endParaRPr>
                    </a:p>
                  </a:txBody>
                  <a:tcPr marL="108000" marR="108000" marT="72000" marB="71963">
                    <a:lnL w="12700" cmpd="sng">
                      <a:noFill/>
                    </a:lnL>
                    <a:lnR w="381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de-DE" sz="1400" noProof="0">
                          <a:solidFill>
                            <a:schemeClr val="tx1"/>
                          </a:solidFill>
                          <a:latin typeface="Arial" pitchFamily="34" charset="0"/>
                          <a:ea typeface="Arial Unicode MS" panose="020B0604020202020204" pitchFamily="34" charset="-128"/>
                          <a:cs typeface="Arial Unicode MS" panose="020B0604020202020204" pitchFamily="34" charset="-128"/>
                        </a:rPr>
                        <a:t>Early detection of problematic areas in the parts program.</a:t>
                      </a:r>
                      <a:endParaRPr lang="de-DE" sz="1400">
                        <a:latin typeface="Arial" pitchFamily="34" charset="0"/>
                        <a:ea typeface="Arial Unicode MS" panose="020B0604020202020204" pitchFamily="34" charset="-128"/>
                        <a:cs typeface="Arial Unicode MS" panose="020B0604020202020204" pitchFamily="34" charset="-128"/>
                      </a:endParaRPr>
                    </a:p>
                    <a:p>
                      <a:pPr marL="0" indent="0" rtl="0">
                        <a:lnSpc>
                          <a:spcPct val="100000"/>
                        </a:lnSpc>
                        <a:spcBef>
                          <a:spcPts val="0"/>
                        </a:spcBef>
                        <a:buClr>
                          <a:schemeClr val="accent1"/>
                        </a:buClr>
                        <a:buFont typeface="Arial" panose="020B0604020202020204" pitchFamily="34" charset="0"/>
                        <a:buNone/>
                      </a:pPr>
                      <a:r>
                        <a:rPr lang="de-DE" sz="1400">
                          <a:latin typeface="Arial"/>
                          <a:ea typeface="Arial Unicode MS"/>
                          <a:cs typeface="Arial Unicode MS"/>
                        </a:rPr>
                        <a:t>Optimization of the web feed rate when machining a freeform via CNC </a:t>
                      </a:r>
                      <a:r>
                        <a:rPr lang="de-DE" sz="1400" err="1">
                          <a:latin typeface="Arial"/>
                          <a:ea typeface="Arial Unicode MS"/>
                          <a:cs typeface="Arial Unicode MS"/>
                        </a:rPr>
                        <a:t>robot</a:t>
                      </a:r>
                      <a:r>
                        <a:rPr lang="de-DE" sz="1400">
                          <a:latin typeface="Arial"/>
                          <a:ea typeface="Arial Unicode MS"/>
                          <a:cs typeface="Arial Unicode MS"/>
                        </a:rPr>
                        <a:t> in additive </a:t>
                      </a:r>
                      <a:r>
                        <a:rPr lang="de-DE" sz="1400" err="1">
                          <a:latin typeface="Arial"/>
                          <a:ea typeface="Arial Unicode MS"/>
                          <a:cs typeface="Arial Unicode MS"/>
                        </a:rPr>
                        <a:t>manufacturing</a:t>
                      </a:r>
                    </a:p>
                  </a:txBody>
                  <a:tcPr marL="108000" marR="108000" marT="71963" marB="71963">
                    <a:lnL w="38100" cap="flat" cmpd="sng" algn="ctr">
                      <a:noFill/>
                      <a:prstDash val="solid"/>
                      <a:round/>
                      <a:headEnd type="none" w="med" len="med"/>
                      <a:tailEnd type="none" w="med" len="med"/>
                    </a:lnL>
                    <a:lnR w="12700" cmpd="sng">
                      <a:noFill/>
                    </a:lnR>
                    <a:lnT w="9525" cap="flat" cmpd="sng" algn="ctr">
                      <a:solidFill>
                        <a:srgbClr val="CCCCD4"/>
                      </a:solidFill>
                      <a:prstDash val="solid"/>
                      <a:round/>
                      <a:headEnd type="none" w="med" len="med"/>
                      <a:tailEnd type="none" w="med" len="med"/>
                    </a:lnT>
                    <a:lnB w="9525"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16091">
                <a:tc>
                  <a:txBody>
                    <a:bodyPr/>
                    <a:lstStyle/>
                    <a:p>
                      <a:pPr marL="0" indent="0" rtl="0">
                        <a:lnSpc>
                          <a:spcPct val="100000"/>
                        </a:lnSpc>
                        <a:spcBef>
                          <a:spcPts val="0"/>
                        </a:spcBef>
                        <a:buClr>
                          <a:schemeClr val="accent1"/>
                        </a:buClr>
                        <a:buFontTx/>
                        <a:buNone/>
                      </a:pPr>
                      <a:r>
                        <a:rPr lang="de-DE" sz="1400" b="1" noProof="0">
                          <a:solidFill>
                            <a:schemeClr val="bg1"/>
                          </a:solidFill>
                        </a:rPr>
                        <a:t>Siemens</a:t>
                      </a:r>
                    </a:p>
                    <a:p>
                      <a:pPr marL="0" indent="0" rtl="0">
                        <a:lnSpc>
                          <a:spcPct val="100000"/>
                        </a:lnSpc>
                        <a:spcBef>
                          <a:spcPts val="0"/>
                        </a:spcBef>
                        <a:buClr>
                          <a:schemeClr val="accent1"/>
                        </a:buClr>
                        <a:buFontTx/>
                        <a:buNone/>
                      </a:pPr>
                      <a:r>
                        <a:rPr lang="de-DE" sz="1400" b="1" noProof="0">
                          <a:solidFill>
                            <a:schemeClr val="bg1"/>
                          </a:solidFill>
                        </a:rPr>
                        <a:t>Solution</a:t>
                      </a:r>
                    </a:p>
                  </a:txBody>
                  <a:tcPr marL="108000" marR="108000" marT="72000" marB="71963">
                    <a:lnL w="12700" cmpd="sng">
                      <a:noFill/>
                    </a:lnL>
                    <a:lnR w="381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spcBef>
                          <a:spcPts val="600"/>
                        </a:spcBef>
                      </a:pPr>
                      <a:r>
                        <a:rPr lang="de-DE" sz="1400" i="0" u="none" strike="noStrike" noProof="0" dirty="0">
                          <a:solidFill>
                            <a:srgbClr val="000000"/>
                          </a:solidFill>
                          <a:effectLst/>
                          <a:latin typeface="Arial" panose="020B0604020202020204" pitchFamily="34" charset="0"/>
                        </a:rPr>
                        <a:t>By </a:t>
                      </a:r>
                      <a:r>
                        <a:rPr lang="de-DE" sz="1400" i="0" u="none" strike="noStrike" noProof="0" dirty="0" err="1">
                          <a:solidFill>
                            <a:srgbClr val="000000"/>
                          </a:solidFill>
                          <a:effectLst/>
                          <a:latin typeface="Arial" panose="020B0604020202020204" pitchFamily="34" charset="0"/>
                        </a:rPr>
                        <a:t>using</a:t>
                      </a:r>
                      <a:r>
                        <a:rPr lang="de-DE" sz="1400" i="0" u="none" strike="noStrike" noProof="0" dirty="0">
                          <a:solidFill>
                            <a:srgbClr val="000000"/>
                          </a:solidFill>
                          <a:effectLst/>
                          <a:latin typeface="Arial" panose="020B0604020202020204" pitchFamily="34" charset="0"/>
                        </a:rPr>
                        <a:t> Analyze </a:t>
                      </a:r>
                      <a:r>
                        <a:rPr lang="de-DE" sz="1400" i="0" u="none" strike="noStrike" noProof="0" dirty="0" err="1">
                          <a:solidFill>
                            <a:srgbClr val="000000"/>
                          </a:solidFill>
                          <a:effectLst/>
                          <a:latin typeface="Arial" panose="020B0604020202020204" pitchFamily="34" charset="0"/>
                        </a:rPr>
                        <a:t>MyWorkpiece</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Toolpath</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together</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with</a:t>
                      </a:r>
                      <a:r>
                        <a:rPr lang="de-DE" sz="1400" i="0" u="none" strike="noStrike" noProof="0" dirty="0">
                          <a:solidFill>
                            <a:srgbClr val="000000"/>
                          </a:solidFill>
                          <a:effectLst/>
                          <a:latin typeface="Arial" panose="020B0604020202020204" pitchFamily="34" charset="0"/>
                        </a:rPr>
                        <a:t> Create </a:t>
                      </a:r>
                      <a:r>
                        <a:rPr lang="de-DE" sz="1400" i="0" u="none" strike="noStrike" noProof="0" dirty="0" err="1">
                          <a:solidFill>
                            <a:srgbClr val="000000"/>
                          </a:solidFill>
                          <a:effectLst/>
                          <a:latin typeface="Arial" panose="020B0604020202020204" pitchFamily="34" charset="0"/>
                        </a:rPr>
                        <a:t>MyVirtual</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Machine</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the</a:t>
                      </a:r>
                      <a:r>
                        <a:rPr lang="de-DE" sz="1400" i="0" u="none" strike="noStrike" noProof="0" dirty="0">
                          <a:solidFill>
                            <a:srgbClr val="000000"/>
                          </a:solidFill>
                          <a:effectLst/>
                          <a:latin typeface="Arial" panose="020B0604020202020204" pitchFamily="34" charset="0"/>
                        </a:rPr>
                        <a:t> G-code </a:t>
                      </a:r>
                      <a:r>
                        <a:rPr lang="de-DE" sz="1400" i="0" u="none" strike="noStrike" noProof="0" dirty="0" err="1">
                          <a:solidFill>
                            <a:srgbClr val="000000"/>
                          </a:solidFill>
                          <a:effectLst/>
                          <a:latin typeface="Arial" panose="020B0604020202020204" pitchFamily="34" charset="0"/>
                        </a:rPr>
                        <a:t>from</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the</a:t>
                      </a:r>
                      <a:r>
                        <a:rPr lang="de-DE" sz="1400" i="0" u="none" strike="noStrike" noProof="0" dirty="0">
                          <a:solidFill>
                            <a:srgbClr val="000000"/>
                          </a:solidFill>
                          <a:effectLst/>
                          <a:latin typeface="Arial" panose="020B0604020202020204" pitchFamily="34" charset="0"/>
                        </a:rPr>
                        <a:t> CAD-CAM </a:t>
                      </a:r>
                      <a:r>
                        <a:rPr lang="de-DE" sz="1400" i="0" u="none" strike="noStrike" noProof="0" dirty="0" err="1">
                          <a:solidFill>
                            <a:srgbClr val="000000"/>
                          </a:solidFill>
                          <a:effectLst/>
                          <a:latin typeface="Arial" panose="020B0604020202020204" pitchFamily="34" charset="0"/>
                        </a:rPr>
                        <a:t>environment</a:t>
                      </a:r>
                      <a:r>
                        <a:rPr lang="de-DE" sz="1400" i="0" u="none" strike="noStrike" noProof="0" dirty="0">
                          <a:solidFill>
                            <a:srgbClr val="000000"/>
                          </a:solidFill>
                          <a:effectLst/>
                          <a:latin typeface="Arial" panose="020B0604020202020204" pitchFamily="34" charset="0"/>
                        </a:rPr>
                        <a:t> (NX) </a:t>
                      </a:r>
                      <a:r>
                        <a:rPr lang="de-DE" sz="1400" i="0" u="none" strike="noStrike" noProof="0" dirty="0" err="1">
                          <a:solidFill>
                            <a:srgbClr val="000000"/>
                          </a:solidFill>
                          <a:effectLst/>
                          <a:latin typeface="Arial" panose="020B0604020202020204" pitchFamily="34" charset="0"/>
                        </a:rPr>
                        <a:t>can</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be</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analyzed</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for</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incorrect</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contour</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curvature</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that</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interfered</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with</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the</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compressors</a:t>
                      </a:r>
                      <a:r>
                        <a:rPr lang="de-DE" sz="1400" i="0" u="none" strike="noStrike" noProof="0" dirty="0">
                          <a:solidFill>
                            <a:srgbClr val="000000"/>
                          </a:solidFill>
                          <a:effectLst/>
                          <a:latin typeface="Arial" panose="020B0604020202020204" pitchFamily="34" charset="0"/>
                        </a:rPr>
                        <a:t>. This </a:t>
                      </a:r>
                      <a:r>
                        <a:rPr lang="de-DE" sz="1400" i="0" u="none" strike="noStrike" noProof="0" dirty="0" err="1">
                          <a:solidFill>
                            <a:srgbClr val="000000"/>
                          </a:solidFill>
                          <a:effectLst/>
                          <a:latin typeface="Arial" panose="020B0604020202020204" pitchFamily="34" charset="0"/>
                        </a:rPr>
                        <a:t>enabled</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both</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increasing</a:t>
                      </a:r>
                      <a:r>
                        <a:rPr lang="de-DE" sz="1400" i="0" u="none" strike="noStrike" noProof="0" dirty="0">
                          <a:solidFill>
                            <a:srgbClr val="000000"/>
                          </a:solidFill>
                          <a:effectLst/>
                          <a:latin typeface="Arial" panose="020B0604020202020204" pitchFamily="34" charset="0"/>
                        </a:rPr>
                        <a:t> and </a:t>
                      </a:r>
                      <a:r>
                        <a:rPr lang="de-DE" sz="1400" i="0" u="none" strike="noStrike" noProof="0" dirty="0" err="1">
                          <a:solidFill>
                            <a:srgbClr val="000000"/>
                          </a:solidFill>
                          <a:effectLst/>
                          <a:latin typeface="Arial" panose="020B0604020202020204" pitchFamily="34" charset="0"/>
                        </a:rPr>
                        <a:t>smoothing</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the</a:t>
                      </a:r>
                      <a:r>
                        <a:rPr lang="de-DE" sz="1400" i="0" u="none" strike="noStrike" noProof="0" dirty="0">
                          <a:solidFill>
                            <a:srgbClr val="000000"/>
                          </a:solidFill>
                          <a:effectLst/>
                          <a:latin typeface="Arial" panose="020B0604020202020204" pitchFamily="34" charset="0"/>
                        </a:rPr>
                        <a:t> </a:t>
                      </a:r>
                      <a:r>
                        <a:rPr lang="de-DE" sz="1400" i="0" u="none" strike="noStrike" noProof="0" dirty="0" err="1">
                          <a:solidFill>
                            <a:srgbClr val="000000"/>
                          </a:solidFill>
                          <a:effectLst/>
                          <a:latin typeface="Arial" panose="020B0604020202020204" pitchFamily="34" charset="0"/>
                        </a:rPr>
                        <a:t>feed</a:t>
                      </a:r>
                      <a:r>
                        <a:rPr lang="de-DE" sz="1400" i="0" u="none" strike="noStrike" noProof="0" dirty="0">
                          <a:solidFill>
                            <a:srgbClr val="000000"/>
                          </a:solidFill>
                          <a:effectLst/>
                          <a:latin typeface="Arial" panose="020B0604020202020204" pitchFamily="34" charset="0"/>
                        </a:rPr>
                        <a:t> rate.</a:t>
                      </a:r>
                    </a:p>
                  </a:txBody>
                  <a:tcPr marL="108000" marR="108000" marT="71963" marB="71963">
                    <a:lnL w="38100" cap="flat" cmpd="sng" algn="ctr">
                      <a:noFill/>
                      <a:prstDash val="solid"/>
                      <a:round/>
                      <a:headEnd type="none" w="med" len="med"/>
                      <a:tailEnd type="none" w="med" len="med"/>
                    </a:lnL>
                    <a:lnR w="12700" cmpd="sng">
                      <a:noFill/>
                    </a:lnR>
                    <a:lnT w="9525" cap="flat" cmpd="sng" algn="ctr">
                      <a:solidFill>
                        <a:srgbClr val="CCCCD4"/>
                      </a:solidFill>
                      <a:prstDash val="solid"/>
                      <a:round/>
                      <a:headEnd type="none" w="med" len="med"/>
                      <a:tailEnd type="none" w="med" len="med"/>
                    </a:lnT>
                    <a:lnB w="9525"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21218">
                <a:tc>
                  <a:txBody>
                    <a:bodyPr/>
                    <a:lstStyle/>
                    <a:p>
                      <a:pPr rtl="0">
                        <a:lnSpc>
                          <a:spcPct val="100000"/>
                        </a:lnSpc>
                        <a:spcBef>
                          <a:spcPts val="0"/>
                        </a:spcBef>
                      </a:pPr>
                      <a:r>
                        <a:rPr lang="de-DE" sz="1400" b="1" noProof="0">
                          <a:solidFill>
                            <a:schemeClr val="bg1"/>
                          </a:solidFill>
                        </a:rPr>
                        <a:t>Customer </a:t>
                      </a:r>
                      <a:r>
                        <a:rPr lang="de-DE" sz="1400" b="1" noProof="0" err="1">
                          <a:solidFill>
                            <a:schemeClr val="bg1"/>
                          </a:solidFill>
                        </a:rPr>
                        <a:t>value</a:t>
                      </a:r>
                      <a:endParaRPr lang="de-DE" sz="1400" b="1" noProof="0">
                        <a:solidFill>
                          <a:schemeClr val="bg1"/>
                        </a:solidFill>
                      </a:endParaRPr>
                    </a:p>
                  </a:txBody>
                  <a:tcPr marL="108000" marR="108000" marT="72000" marB="71963">
                    <a:lnL w="12700" cmpd="sng">
                      <a:noFill/>
                    </a:lnL>
                    <a:lnR w="381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80000" indent="-180000" rtl="0">
                        <a:lnSpc>
                          <a:spcPct val="100000"/>
                        </a:lnSpc>
                        <a:spcBef>
                          <a:spcPts val="0"/>
                        </a:spcBef>
                        <a:buClr>
                          <a:schemeClr val="accent1"/>
                        </a:buClr>
                        <a:buFont typeface="Arial" panose="020B0604020202020204" pitchFamily="34" charset="0"/>
                        <a:buChar char="•"/>
                      </a:pPr>
                      <a:r>
                        <a:rPr lang="de-DE" sz="1400" b="0" i="0" u="none" strike="noStrike" kern="1200" baseline="0" noProof="0">
                          <a:solidFill>
                            <a:schemeClr val="tx1"/>
                          </a:solidFill>
                          <a:latin typeface="+mn-lt"/>
                          <a:ea typeface="+mn-ea"/>
                          <a:cs typeface="+mn-cs"/>
                        </a:rPr>
                        <a:t>Accelerated identification of causes for quality problems in workpieces</a:t>
                      </a:r>
                    </a:p>
                    <a:p>
                      <a:pPr marL="180000" indent="-180000" rtl="0">
                        <a:lnSpc>
                          <a:spcPct val="100000"/>
                        </a:lnSpc>
                        <a:spcBef>
                          <a:spcPts val="0"/>
                        </a:spcBef>
                        <a:buClr>
                          <a:schemeClr val="accent1"/>
                        </a:buClr>
                        <a:buFont typeface="Arial" panose="020B0604020202020204" pitchFamily="34" charset="0"/>
                        <a:buChar char="•"/>
                      </a:pPr>
                      <a:r>
                        <a:rPr lang="de-DE" sz="1400" b="0" i="0" u="none" strike="noStrike" kern="1200" baseline="0" noProof="0">
                          <a:solidFill>
                            <a:schemeClr val="tx1"/>
                          </a:solidFill>
                          <a:latin typeface="+mn-lt"/>
                          <a:ea typeface="+mn-ea"/>
                          <a:cs typeface="+mn-cs"/>
                        </a:rPr>
                        <a:t>Increased workpiece quality</a:t>
                      </a:r>
                    </a:p>
                    <a:p>
                      <a:pPr marL="179705" indent="-179705" rtl="0">
                        <a:lnSpc>
                          <a:spcPct val="100000"/>
                        </a:lnSpc>
                        <a:spcBef>
                          <a:spcPts val="0"/>
                        </a:spcBef>
                        <a:buClr>
                          <a:schemeClr val="accent1"/>
                        </a:buClr>
                        <a:buFont typeface="Arial" panose="020B0604020202020204" pitchFamily="34" charset="0"/>
                        <a:buChar char="•"/>
                      </a:pPr>
                      <a:r>
                        <a:rPr lang="de-DE" sz="1400" b="0" i="0" u="none" strike="noStrike" kern="1200" baseline="0" noProof="0">
                          <a:solidFill>
                            <a:schemeClr val="tx1"/>
                          </a:solidFill>
                          <a:latin typeface="+mn-lt"/>
                          <a:ea typeface="+mn-ea"/>
                          <a:cs typeface="+mn-cs"/>
                        </a:rPr>
                        <a:t>Better control of process quality and stability</a:t>
                      </a:r>
                    </a:p>
                    <a:p>
                      <a:pPr marL="179705" indent="-179705" rtl="0">
                        <a:lnSpc>
                          <a:spcPct val="100000"/>
                        </a:lnSpc>
                        <a:spcBef>
                          <a:spcPts val="0"/>
                        </a:spcBef>
                        <a:buClr>
                          <a:schemeClr val="accent1"/>
                        </a:buClr>
                        <a:buFont typeface="Arial" panose="020B0604020202020204" pitchFamily="34" charset="0"/>
                        <a:buChar char="•"/>
                      </a:pPr>
                      <a:r>
                        <a:rPr lang="de-DE" sz="1400" b="0" i="0" u="none" strike="noStrike" kern="1200" baseline="0" noProof="0">
                          <a:solidFill>
                            <a:schemeClr val="tx1"/>
                          </a:solidFill>
                          <a:latin typeface="+mn-lt"/>
                          <a:ea typeface="+mn-ea"/>
                          <a:cs typeface="+mn-cs"/>
                        </a:rPr>
                        <a:t>Optimization of the CAD-CAM chain with regard to the best possible G-code output</a:t>
                      </a:r>
                    </a:p>
                  </a:txBody>
                  <a:tcPr marL="108000" marR="108000" marT="71963" marB="71963">
                    <a:lnL w="38100" cap="flat" cmpd="sng" algn="ctr">
                      <a:noFill/>
                      <a:prstDash val="solid"/>
                      <a:round/>
                      <a:headEnd type="none" w="med" len="med"/>
                      <a:tailEnd type="none" w="med" len="med"/>
                    </a:lnL>
                    <a:lnR w="12700" cmpd="sng">
                      <a:noFill/>
                    </a:lnR>
                    <a:lnT w="9525" cap="flat" cmpd="sng" algn="ctr">
                      <a:solidFill>
                        <a:srgbClr val="CCCCD4"/>
                      </a:solidFill>
                      <a:prstDash val="solid"/>
                      <a:round/>
                      <a:headEnd type="none" w="med" len="med"/>
                      <a:tailEnd type="none" w="med" len="med"/>
                    </a:lnT>
                    <a:lnB w="9525" cap="flat" cmpd="sng" algn="ctr">
                      <a:solidFill>
                        <a:srgbClr val="CCCCD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21218">
                <a:tc>
                  <a:txBody>
                    <a:bodyPr/>
                    <a:lstStyle/>
                    <a:p>
                      <a:pPr rtl="0">
                        <a:lnSpc>
                          <a:spcPct val="100000"/>
                        </a:lnSpc>
                      </a:pPr>
                      <a:r>
                        <a:rPr lang="de-DE" sz="1400" b="1" noProof="0">
                          <a:solidFill>
                            <a:schemeClr val="bg1"/>
                          </a:solidFill>
                        </a:rPr>
                        <a:t>Why Siemens?</a:t>
                      </a:r>
                    </a:p>
                  </a:txBody>
                  <a:tcPr marL="108000" marR="108000" marT="72000" marB="71963">
                    <a:lnL w="12700" cmpd="sng">
                      <a:noFill/>
                    </a:lnL>
                    <a:lnR w="381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rtl="0">
                        <a:lnSpc>
                          <a:spcPct val="100000"/>
                        </a:lnSpc>
                        <a:spcBef>
                          <a:spcPts val="0"/>
                        </a:spcBef>
                        <a:buClr>
                          <a:schemeClr val="accent1"/>
                        </a:buClr>
                        <a:buFont typeface="Arial" panose="020B0604020202020204" pitchFamily="34" charset="0"/>
                        <a:buNone/>
                      </a:pPr>
                      <a:r>
                        <a:rPr lang="de-DE" sz="1400" b="0" i="0" kern="1200" noProof="0" dirty="0" err="1">
                          <a:solidFill>
                            <a:schemeClr val="dk1"/>
                          </a:solidFill>
                          <a:effectLst/>
                          <a:latin typeface="+mn-lt"/>
                          <a:ea typeface="+mn-ea"/>
                          <a:cs typeface="+mn-cs"/>
                        </a:rPr>
                        <a:t>With</a:t>
                      </a:r>
                      <a:r>
                        <a:rPr lang="de-DE" sz="1400" b="0" i="0" kern="1200" noProof="0" dirty="0">
                          <a:solidFill>
                            <a:schemeClr val="dk1"/>
                          </a:solidFill>
                          <a:effectLst/>
                          <a:latin typeface="+mn-lt"/>
                          <a:ea typeface="+mn-ea"/>
                          <a:cs typeface="+mn-cs"/>
                        </a:rPr>
                        <a:t> Analyze </a:t>
                      </a:r>
                      <a:r>
                        <a:rPr lang="de-DE" sz="1400" b="0" i="0" kern="1200" noProof="0" dirty="0" err="1">
                          <a:solidFill>
                            <a:schemeClr val="dk1"/>
                          </a:solidFill>
                          <a:effectLst/>
                          <a:latin typeface="+mn-lt"/>
                          <a:ea typeface="+mn-ea"/>
                          <a:cs typeface="+mn-cs"/>
                        </a:rPr>
                        <a:t>MyWorkpiece</a:t>
                      </a:r>
                      <a:r>
                        <a:rPr lang="de-DE" sz="1400" b="0" i="0" kern="1200" noProof="0" dirty="0">
                          <a:solidFill>
                            <a:schemeClr val="dk1"/>
                          </a:solidFill>
                          <a:effectLst/>
                          <a:latin typeface="+mn-lt"/>
                          <a:ea typeface="+mn-ea"/>
                          <a:cs typeface="+mn-cs"/>
                        </a:rPr>
                        <a:t>/</a:t>
                      </a:r>
                      <a:r>
                        <a:rPr lang="de-DE" sz="1400" b="0" i="0" kern="1200" noProof="0" dirty="0" err="1">
                          <a:solidFill>
                            <a:schemeClr val="dk1"/>
                          </a:solidFill>
                          <a:effectLst/>
                          <a:latin typeface="+mn-lt"/>
                          <a:ea typeface="+mn-ea"/>
                          <a:cs typeface="+mn-cs"/>
                        </a:rPr>
                        <a:t>Toolpath</a:t>
                      </a:r>
                      <a:r>
                        <a:rPr lang="de-DE" sz="1400" b="0" i="0" kern="1200" noProof="0" dirty="0">
                          <a:solidFill>
                            <a:schemeClr val="dk1"/>
                          </a:solidFill>
                          <a:effectLst/>
                          <a:latin typeface="+mn-lt"/>
                          <a:ea typeface="+mn-ea"/>
                          <a:cs typeface="+mn-cs"/>
                        </a:rPr>
                        <a:t>, Siemens </a:t>
                      </a:r>
                      <a:r>
                        <a:rPr lang="de-DE" sz="1400" b="0" i="0" kern="1200" noProof="0" dirty="0" err="1">
                          <a:solidFill>
                            <a:schemeClr val="dk1"/>
                          </a:solidFill>
                          <a:effectLst/>
                          <a:latin typeface="+mn-lt"/>
                          <a:ea typeface="+mn-ea"/>
                          <a:cs typeface="+mn-cs"/>
                        </a:rPr>
                        <a:t>has</a:t>
                      </a:r>
                      <a:r>
                        <a:rPr lang="de-DE" sz="1400" b="0" i="0" kern="1200" noProof="0" dirty="0">
                          <a:solidFill>
                            <a:schemeClr val="dk1"/>
                          </a:solidFill>
                          <a:effectLst/>
                          <a:latin typeface="+mn-lt"/>
                          <a:ea typeface="+mn-ea"/>
                          <a:cs typeface="+mn-cs"/>
                        </a:rPr>
                        <a:t> a </a:t>
                      </a:r>
                      <a:r>
                        <a:rPr lang="de-DE" sz="1400" b="0" i="0" kern="1200" noProof="0" dirty="0" err="1">
                          <a:solidFill>
                            <a:schemeClr val="dk1"/>
                          </a:solidFill>
                          <a:effectLst/>
                          <a:latin typeface="+mn-lt"/>
                          <a:ea typeface="+mn-ea"/>
                          <a:cs typeface="+mn-cs"/>
                        </a:rPr>
                        <a:t>product</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that</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is</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deeply</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integrated</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into</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the</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overall</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system</a:t>
                      </a:r>
                      <a:r>
                        <a:rPr lang="de-DE" sz="1400" b="0" i="0" kern="1200" noProof="0" dirty="0">
                          <a:solidFill>
                            <a:schemeClr val="dk1"/>
                          </a:solidFill>
                          <a:effectLst/>
                          <a:latin typeface="+mn-lt"/>
                          <a:ea typeface="+mn-ea"/>
                          <a:cs typeface="+mn-cs"/>
                        </a:rPr>
                        <a:t> and </a:t>
                      </a:r>
                      <a:r>
                        <a:rPr lang="de-DE" sz="1400" b="0" i="0" kern="1200" noProof="0" dirty="0" err="1">
                          <a:solidFill>
                            <a:schemeClr val="dk1"/>
                          </a:solidFill>
                          <a:effectLst/>
                          <a:latin typeface="+mn-lt"/>
                          <a:ea typeface="+mn-ea"/>
                          <a:cs typeface="+mn-cs"/>
                        </a:rPr>
                        <a:t>provides</a:t>
                      </a:r>
                      <a:r>
                        <a:rPr lang="de-DE" sz="1400" b="0" i="0" kern="1200" noProof="0" dirty="0">
                          <a:solidFill>
                            <a:schemeClr val="dk1"/>
                          </a:solidFill>
                          <a:effectLst/>
                          <a:latin typeface="+mn-lt"/>
                          <a:ea typeface="+mn-ea"/>
                          <a:cs typeface="+mn-cs"/>
                        </a:rPr>
                        <a:t> optimal </a:t>
                      </a:r>
                      <a:r>
                        <a:rPr lang="de-DE" sz="1400" b="0" i="0" kern="1200" noProof="0" dirty="0" err="1">
                          <a:solidFill>
                            <a:schemeClr val="dk1"/>
                          </a:solidFill>
                          <a:effectLst/>
                          <a:latin typeface="+mn-lt"/>
                          <a:ea typeface="+mn-ea"/>
                          <a:cs typeface="+mn-cs"/>
                        </a:rPr>
                        <a:t>access</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to</a:t>
                      </a:r>
                      <a:r>
                        <a:rPr lang="de-DE" sz="1400" b="0" i="0" kern="1200" noProof="0" dirty="0">
                          <a:solidFill>
                            <a:schemeClr val="dk1"/>
                          </a:solidFill>
                          <a:effectLst/>
                          <a:latin typeface="+mn-lt"/>
                          <a:ea typeface="+mn-ea"/>
                          <a:cs typeface="+mn-cs"/>
                        </a:rPr>
                        <a:t> SINUMERIK </a:t>
                      </a:r>
                      <a:r>
                        <a:rPr lang="de-DE" sz="1400" b="0" i="0" kern="1200" noProof="0" dirty="0" err="1">
                          <a:solidFill>
                            <a:schemeClr val="dk1"/>
                          </a:solidFill>
                          <a:effectLst/>
                          <a:latin typeface="+mn-lt"/>
                          <a:ea typeface="+mn-ea"/>
                          <a:cs typeface="+mn-cs"/>
                        </a:rPr>
                        <a:t>data</a:t>
                      </a:r>
                      <a:r>
                        <a:rPr lang="de-DE" sz="1400" b="0" i="0" kern="1200" noProof="0" dirty="0">
                          <a:solidFill>
                            <a:schemeClr val="dk1"/>
                          </a:solidFill>
                          <a:effectLst/>
                          <a:latin typeface="+mn-lt"/>
                          <a:ea typeface="+mn-ea"/>
                          <a:cs typeface="+mn-cs"/>
                        </a:rPr>
                        <a:t>. In </a:t>
                      </a:r>
                      <a:r>
                        <a:rPr lang="de-DE" sz="1400" b="0" i="0" kern="1200" noProof="0" dirty="0" err="1">
                          <a:solidFill>
                            <a:schemeClr val="dk1"/>
                          </a:solidFill>
                          <a:effectLst/>
                          <a:latin typeface="+mn-lt"/>
                          <a:ea typeface="+mn-ea"/>
                          <a:cs typeface="+mn-cs"/>
                        </a:rPr>
                        <a:t>interaction</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with</a:t>
                      </a:r>
                      <a:r>
                        <a:rPr lang="de-DE" sz="1400" b="0" i="0" kern="1200" noProof="0" dirty="0">
                          <a:solidFill>
                            <a:schemeClr val="dk1"/>
                          </a:solidFill>
                          <a:effectLst/>
                          <a:latin typeface="+mn-lt"/>
                          <a:ea typeface="+mn-ea"/>
                          <a:cs typeface="+mn-cs"/>
                        </a:rPr>
                        <a:t> Create </a:t>
                      </a:r>
                      <a:r>
                        <a:rPr lang="de-DE" sz="1400" b="0" i="0" kern="1200" noProof="0" dirty="0" err="1">
                          <a:solidFill>
                            <a:schemeClr val="dk1"/>
                          </a:solidFill>
                          <a:effectLst/>
                          <a:latin typeface="+mn-lt"/>
                          <a:ea typeface="+mn-ea"/>
                          <a:cs typeface="+mn-cs"/>
                        </a:rPr>
                        <a:t>MyVirtual</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Machine</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the</a:t>
                      </a:r>
                      <a:r>
                        <a:rPr lang="de-DE" sz="1400" b="0" i="0" kern="1200" noProof="0" dirty="0">
                          <a:solidFill>
                            <a:schemeClr val="dk1"/>
                          </a:solidFill>
                          <a:effectLst/>
                          <a:latin typeface="+mn-lt"/>
                          <a:ea typeface="+mn-ea"/>
                          <a:cs typeface="+mn-cs"/>
                        </a:rPr>
                        <a:t> digital </a:t>
                      </a:r>
                      <a:r>
                        <a:rPr lang="de-DE" sz="1400" b="0" i="0" kern="1200" noProof="0" dirty="0" err="1">
                          <a:solidFill>
                            <a:schemeClr val="dk1"/>
                          </a:solidFill>
                          <a:effectLst/>
                          <a:latin typeface="+mn-lt"/>
                          <a:ea typeface="+mn-ea"/>
                          <a:cs typeface="+mn-cs"/>
                        </a:rPr>
                        <a:t>twin</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of</a:t>
                      </a:r>
                      <a:r>
                        <a:rPr lang="de-DE" sz="1400" b="0" i="0" kern="1200" noProof="0" dirty="0">
                          <a:solidFill>
                            <a:schemeClr val="dk1"/>
                          </a:solidFill>
                          <a:effectLst/>
                          <a:latin typeface="+mn-lt"/>
                          <a:ea typeface="+mn-ea"/>
                          <a:cs typeface="+mn-cs"/>
                        </a:rPr>
                        <a:t> Sinumerik, </a:t>
                      </a:r>
                      <a:r>
                        <a:rPr lang="de-DE" sz="1400" b="0" i="0" kern="1200" noProof="0" dirty="0" err="1">
                          <a:solidFill>
                            <a:schemeClr val="dk1"/>
                          </a:solidFill>
                          <a:effectLst/>
                          <a:latin typeface="+mn-lt"/>
                          <a:ea typeface="+mn-ea"/>
                          <a:cs typeface="+mn-cs"/>
                        </a:rPr>
                        <a:t>optimization</a:t>
                      </a:r>
                      <a:r>
                        <a:rPr lang="de-DE" sz="1400" b="0" i="0" kern="1200" noProof="0" dirty="0">
                          <a:solidFill>
                            <a:schemeClr val="dk1"/>
                          </a:solidFill>
                          <a:effectLst/>
                          <a:latin typeface="+mn-lt"/>
                          <a:ea typeface="+mn-ea"/>
                          <a:cs typeface="+mn-cs"/>
                        </a:rPr>
                        <a:t>/</a:t>
                      </a:r>
                      <a:r>
                        <a:rPr lang="de-DE" sz="1400" b="0" i="0" kern="1200" noProof="0" dirty="0" err="1">
                          <a:solidFill>
                            <a:schemeClr val="dk1"/>
                          </a:solidFill>
                          <a:effectLst/>
                          <a:latin typeface="+mn-lt"/>
                          <a:ea typeface="+mn-ea"/>
                          <a:cs typeface="+mn-cs"/>
                        </a:rPr>
                        <a:t>diagnosis</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can</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be</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carried</a:t>
                      </a:r>
                      <a:r>
                        <a:rPr lang="de-DE" sz="1400" b="0" i="0" kern="1200" noProof="0" dirty="0">
                          <a:solidFill>
                            <a:schemeClr val="dk1"/>
                          </a:solidFill>
                          <a:effectLst/>
                          <a:latin typeface="+mn-lt"/>
                          <a:ea typeface="+mn-ea"/>
                          <a:cs typeface="+mn-cs"/>
                        </a:rPr>
                        <a:t> out </a:t>
                      </a:r>
                      <a:r>
                        <a:rPr lang="de-DE" sz="1400" b="0" i="0" kern="1200" noProof="0" dirty="0" err="1">
                          <a:solidFill>
                            <a:schemeClr val="dk1"/>
                          </a:solidFill>
                          <a:effectLst/>
                          <a:latin typeface="+mn-lt"/>
                          <a:ea typeface="+mn-ea"/>
                          <a:cs typeface="+mn-cs"/>
                        </a:rPr>
                        <a:t>completely</a:t>
                      </a:r>
                      <a:r>
                        <a:rPr lang="de-DE" sz="1400" b="0" i="0" kern="1200" noProof="0" dirty="0">
                          <a:solidFill>
                            <a:schemeClr val="dk1"/>
                          </a:solidFill>
                          <a:effectLst/>
                          <a:latin typeface="+mn-lt"/>
                          <a:ea typeface="+mn-ea"/>
                          <a:cs typeface="+mn-cs"/>
                        </a:rPr>
                        <a:t> at </a:t>
                      </a:r>
                      <a:r>
                        <a:rPr lang="de-DE" sz="1400" b="0" i="0" kern="1200" noProof="0" dirty="0" err="1">
                          <a:solidFill>
                            <a:schemeClr val="dk1"/>
                          </a:solidFill>
                          <a:effectLst/>
                          <a:latin typeface="+mn-lt"/>
                          <a:ea typeface="+mn-ea"/>
                          <a:cs typeface="+mn-cs"/>
                        </a:rPr>
                        <a:t>the</a:t>
                      </a:r>
                      <a:r>
                        <a:rPr lang="de-DE" sz="1400" b="0" i="0" kern="1200" noProof="0" dirty="0">
                          <a:solidFill>
                            <a:schemeClr val="dk1"/>
                          </a:solidFill>
                          <a:effectLst/>
                          <a:latin typeface="+mn-lt"/>
                          <a:ea typeface="+mn-ea"/>
                          <a:cs typeface="+mn-cs"/>
                        </a:rPr>
                        <a:t> </a:t>
                      </a:r>
                      <a:r>
                        <a:rPr lang="de-DE" sz="1400" b="0" i="0" kern="1200" noProof="0" dirty="0" err="1">
                          <a:solidFill>
                            <a:schemeClr val="dk1"/>
                          </a:solidFill>
                          <a:effectLst/>
                          <a:latin typeface="+mn-lt"/>
                          <a:ea typeface="+mn-ea"/>
                          <a:cs typeface="+mn-cs"/>
                        </a:rPr>
                        <a:t>desk</a:t>
                      </a:r>
                      <a:r>
                        <a:rPr lang="de-DE" sz="1400" b="0" i="0" kern="1200" noProof="0" dirty="0">
                          <a:solidFill>
                            <a:schemeClr val="dk1"/>
                          </a:solidFill>
                          <a:effectLst/>
                          <a:latin typeface="+mn-lt"/>
                          <a:ea typeface="+mn-ea"/>
                          <a:cs typeface="+mn-cs"/>
                        </a:rPr>
                        <a:t>.</a:t>
                      </a:r>
                      <a:endParaRPr lang="de-DE" sz="1400" b="0" i="0" u="none" strike="noStrike" kern="1200" baseline="0" noProof="0" dirty="0">
                        <a:solidFill>
                          <a:srgbClr val="FF0000"/>
                        </a:solidFill>
                        <a:latin typeface="+mn-lt"/>
                        <a:ea typeface="+mn-ea"/>
                        <a:cs typeface="+mn-cs"/>
                      </a:endParaRPr>
                    </a:p>
                  </a:txBody>
                  <a:tcPr marL="108000" marR="108000" marT="71963" marB="71963">
                    <a:lnL w="38100" cap="flat" cmpd="sng" algn="ctr">
                      <a:noFill/>
                      <a:prstDash val="solid"/>
                      <a:round/>
                      <a:headEnd type="none" w="med" len="med"/>
                      <a:tailEnd type="none" w="med" len="med"/>
                    </a:lnL>
                    <a:lnR w="12700" cmpd="sng">
                      <a:noFill/>
                    </a:lnR>
                    <a:lnT w="9525" cap="flat" cmpd="sng" algn="ctr">
                      <a:solidFill>
                        <a:srgbClr val="CCCCD4"/>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1048360"/>
                  </a:ext>
                </a:extLst>
              </a:tr>
            </a:tbl>
          </a:graphicData>
        </a:graphic>
      </p:graphicFrame>
      <p:pic>
        <p:nvPicPr>
          <p:cNvPr id="14" name="Siemens Logo">
            <a:extLst>
              <a:ext uri="{FF2B5EF4-FFF2-40B4-BE49-F238E27FC236}">
                <a16:creationId xmlns:a16="http://schemas.microsoft.com/office/drawing/2014/main" id="{AC5B32DC-D427-4537-BBFA-D6991AF2C52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635188" y="6418800"/>
            <a:ext cx="1152000" cy="183168"/>
          </a:xfrm>
          <a:prstGeom prst="rect">
            <a:avLst/>
          </a:prstGeom>
        </p:spPr>
      </p:pic>
      <p:sp>
        <p:nvSpPr>
          <p:cNvPr id="15" name="Highlight-Box">
            <a:extLst>
              <a:ext uri="{FF2B5EF4-FFF2-40B4-BE49-F238E27FC236}">
                <a16:creationId xmlns:a16="http://schemas.microsoft.com/office/drawing/2014/main" id="{B335D7F3-776E-474D-8602-087C6139ADEB}"/>
              </a:ext>
            </a:extLst>
          </p:cNvPr>
          <p:cNvSpPr txBox="1">
            <a:spLocks noChangeArrowheads="1"/>
          </p:cNvSpPr>
          <p:nvPr/>
        </p:nvSpPr>
        <p:spPr bwMode="auto">
          <a:xfrm>
            <a:off x="8307658" y="2151162"/>
            <a:ext cx="3884340" cy="2762360"/>
          </a:xfrm>
          <a:prstGeom prst="rect">
            <a:avLst/>
          </a:prstGeom>
          <a:gradFill>
            <a:gsLst>
              <a:gs pos="0">
                <a:srgbClr val="00FFB9">
                  <a:alpha val="80000"/>
                </a:srgbClr>
              </a:gs>
              <a:gs pos="100000">
                <a:srgbClr val="00E6DC">
                  <a:alpha val="80000"/>
                </a:srgbClr>
              </a:gs>
            </a:gsLst>
            <a:lin ang="0" scaled="0"/>
          </a:gradFill>
          <a:ln>
            <a:noFill/>
          </a:ln>
          <a:effectLst/>
        </p:spPr>
        <p:txBody>
          <a:bodyPr wrap="square" lIns="108000" tIns="54000" rIns="288000" bIns="54000" numCol="1" spcCol="72000" rtlCol="0" anchor="ctr">
            <a:noAutofit/>
          </a:bodyPr>
          <a:lstStyle>
            <a:defPPr>
              <a:defRPr lang="de-DE"/>
            </a:defPPr>
            <a:lvl1pPr>
              <a:lnSpc>
                <a:spcPct val="110000"/>
              </a:lnSpc>
              <a:spcBef>
                <a:spcPts val="0"/>
              </a:spcBef>
              <a:defRPr b="1">
                <a:solidFill>
                  <a:schemeClr val="tx1"/>
                </a:solidFill>
              </a:defRPr>
            </a:lvl1pPr>
          </a:lstStyle>
          <a:p>
            <a:r>
              <a:rPr lang="de-DE" sz="2000"/>
              <a:t>"</a:t>
            </a:r>
            <a:r>
              <a:rPr lang="de-DE">
                <a:solidFill>
                  <a:srgbClr val="000000"/>
                </a:solidFill>
                <a:latin typeface="Arial" panose="020B0604020202020204" pitchFamily="34" charset="0"/>
              </a:rPr>
              <a:t>Deep analysis capabilities of the part program as well as the NC output allowed us to target problem areas in the part program generation</a:t>
            </a:r>
            <a:r>
              <a:rPr lang="de-DE" i="0" u="none" strike="noStrike">
                <a:solidFill>
                  <a:srgbClr val="000000"/>
                </a:solidFill>
                <a:effectLst/>
                <a:latin typeface="Arial" panose="020B0604020202020204" pitchFamily="34" charset="0"/>
              </a:rPr>
              <a:t>. </a:t>
            </a:r>
            <a:r>
              <a:rPr lang="de-DE">
                <a:solidFill>
                  <a:srgbClr val="000000"/>
                </a:solidFill>
                <a:latin typeface="Arial" panose="020B0604020202020204" pitchFamily="34" charset="0"/>
              </a:rPr>
              <a:t>This helped us optimize our CAM setup." </a:t>
            </a:r>
            <a:endParaRPr lang="de-DE" sz="2000"/>
          </a:p>
        </p:txBody>
      </p:sp>
      <p:sp>
        <p:nvSpPr>
          <p:cNvPr id="3" name="Fußzeilenplatzhalter 7">
            <a:extLst>
              <a:ext uri="{FF2B5EF4-FFF2-40B4-BE49-F238E27FC236}">
                <a16:creationId xmlns:a16="http://schemas.microsoft.com/office/drawing/2014/main" id="{B97528C2-9611-C7A8-9D35-452D8CEBB4CB}"/>
              </a:ext>
            </a:extLst>
          </p:cNvPr>
          <p:cNvSpPr>
            <a:spLocks noGrp="1"/>
          </p:cNvSpPr>
          <p:nvPr>
            <p:ph type="ftr" sz="quarter" idx="10"/>
          </p:nvPr>
        </p:nvSpPr>
        <p:spPr>
          <a:xfrm>
            <a:off x="1059160" y="6310800"/>
            <a:ext cx="9216000" cy="547200"/>
          </a:xfrm>
        </p:spPr>
        <p:txBody>
          <a:bodyPr/>
          <a:lstStyle/>
          <a:p>
            <a:pPr>
              <a:lnSpc>
                <a:spcPct val="100000"/>
              </a:lnSpc>
            </a:pPr>
            <a:r>
              <a:rPr lang="en-US" noProof="0"/>
              <a:t>Unrestricted | © Siemens 2023 | MACHINUM</a:t>
            </a:r>
          </a:p>
        </p:txBody>
      </p:sp>
      <p:sp>
        <p:nvSpPr>
          <p:cNvPr id="11" name="Foliennummernplatzhalter 8">
            <a:extLst>
              <a:ext uri="{FF2B5EF4-FFF2-40B4-BE49-F238E27FC236}">
                <a16:creationId xmlns:a16="http://schemas.microsoft.com/office/drawing/2014/main" id="{29A88BBA-8561-5F2F-9064-2F2F5794F0BF}"/>
              </a:ext>
            </a:extLst>
          </p:cNvPr>
          <p:cNvSpPr>
            <a:spLocks noGrp="1"/>
          </p:cNvSpPr>
          <p:nvPr>
            <p:ph type="sldNum" sz="quarter" idx="11"/>
          </p:nvPr>
        </p:nvSpPr>
        <p:spPr>
          <a:xfrm>
            <a:off x="411162" y="6310800"/>
            <a:ext cx="648000" cy="547200"/>
          </a:xfrm>
        </p:spPr>
        <p:txBody>
          <a:bodyPr/>
          <a:lstStyle/>
          <a:p>
            <a:r>
              <a:rPr lang="en-US" noProof="0" err="1"/>
              <a:t>Page 2</a:t>
            </a:r>
            <a:fld id="{15EBE321-CBB1-4E91-BD14-37C8D44326FB}" type="slidenum">
              <a:rPr lang="en-US" noProof="0" smtClean="0"/>
              <a:t>3</a:t>
            </a:fld>
            <a:endParaRPr lang="en-US" noProof="0"/>
          </a:p>
        </p:txBody>
      </p:sp>
    </p:spTree>
    <p:extLst>
      <p:ext uri="{BB962C8B-B14F-4D97-AF65-F5344CB8AC3E}">
        <p14:creationId xmlns:p14="http://schemas.microsoft.com/office/powerpoint/2010/main" val="361074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2AE3AEB-1372-4018-A74B-C9F4D007F395}"/>
              </a:ext>
            </a:extLst>
          </p:cNvPr>
          <p:cNvGraphicFramePr>
            <a:graphicFrameLocks noChangeAspect="1"/>
          </p:cNvGraphicFramePr>
          <p:nvPr>
            <p:custDataLst>
              <p:tags r:id="rId2"/>
            </p:custDataLst>
            <p:extLst>
              <p:ext uri="{D42A27DB-BD31-4B8C-83A1-F6EECF244321}">
                <p14:modId xmlns:p14="http://schemas.microsoft.com/office/powerpoint/2010/main" val="717551846"/>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4" name="Objekt 3" hidden="1">
                        <a:extLst>
                          <a:ext uri="{FF2B5EF4-FFF2-40B4-BE49-F238E27FC236}">
                            <a16:creationId xmlns:a16="http://schemas.microsoft.com/office/drawing/2014/main" id="{D2AE3AEB-1372-4018-A74B-C9F4D007F395}"/>
                          </a:ext>
                        </a:extLst>
                      </p:cNvPr>
                      <p:cNvPicPr/>
                      <p:nvPr/>
                    </p:nvPicPr>
                    <p:blipFill>
                      <a:blip r:embed="rId7"/>
                      <a:stretch>
                        <a:fillRect/>
                      </a:stretch>
                    </p:blipFill>
                    <p:spPr>
                      <a:xfrm>
                        <a:off x="1587" y="3372"/>
                        <a:ext cx="1587" cy="1587"/>
                      </a:xfrm>
                      <a:prstGeom prst="rect">
                        <a:avLst/>
                      </a:prstGeom>
                    </p:spPr>
                  </p:pic>
                </p:oleObj>
              </mc:Fallback>
            </mc:AlternateContent>
          </a:graphicData>
        </a:graphic>
      </p:graphicFrame>
      <p:pic>
        <p:nvPicPr>
          <p:cNvPr id="1028" name="Picture 4">
            <a:extLst>
              <a:ext uri="{FF2B5EF4-FFF2-40B4-BE49-F238E27FC236}">
                <a16:creationId xmlns:a16="http://schemas.microsoft.com/office/drawing/2014/main" id="{070D5F44-6BFC-3D47-FF80-34C0CF96E67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9486" t="14490" r="32011" b="8151"/>
          <a:stretch/>
        </p:blipFill>
        <p:spPr bwMode="auto">
          <a:xfrm>
            <a:off x="7890512" y="0"/>
            <a:ext cx="4299848"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hidden="1">
            <a:extLst>
              <a:ext uri="{FF2B5EF4-FFF2-40B4-BE49-F238E27FC236}">
                <a16:creationId xmlns:a16="http://schemas.microsoft.com/office/drawing/2014/main" id="{3C58C7F8-0E06-4B11-B9F3-8351E44EF152}"/>
              </a:ext>
            </a:extLst>
          </p:cNvPr>
          <p:cNvSpPr/>
          <p:nvPr>
            <p:custDataLst>
              <p:tags r:id="rId3"/>
            </p:custDataLst>
          </p:nvPr>
        </p:nvSpPr>
        <p:spPr bwMode="gray">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algn="ctr">
              <a:lnSpc>
                <a:spcPct val="110000"/>
              </a:lnSpc>
              <a:spcBef>
                <a:spcPct val="0"/>
              </a:spcBef>
              <a:buFont typeface="Wingdings" charset="0"/>
              <a:buNone/>
            </a:pPr>
            <a:endParaRPr lang="en-US" sz="2199" b="1">
              <a:ea typeface="+mj-ea"/>
              <a:cs typeface="Arial" panose="020B0604020202020204" pitchFamily="34" charset="0"/>
              <a:sym typeface="Arial" panose="020B0604020202020204" pitchFamily="34" charset="0"/>
            </a:endParaRPr>
          </a:p>
        </p:txBody>
      </p:sp>
      <p:sp>
        <p:nvSpPr>
          <p:cNvPr id="109572" name="cdtRectangle 4 Id109572"/>
          <p:cNvSpPr>
            <a:spLocks noGrp="1" noChangeArrowheads="1"/>
          </p:cNvSpPr>
          <p:nvPr>
            <p:ph type="title"/>
          </p:nvPr>
        </p:nvSpPr>
        <p:spPr bwMode="gray">
          <a:xfrm>
            <a:off x="410400" y="478800"/>
            <a:ext cx="9863997" cy="576000"/>
          </a:xfrm>
        </p:spPr>
        <p:txBody>
          <a:bodyPr vert="horz"/>
          <a:lstStyle/>
          <a:p>
            <a:r>
              <a:rPr lang="de-DE"/>
              <a:t>Analyze MyWorkpiece /Toolpath, Chiron Group SE - </a:t>
            </a:r>
            <a:br>
              <a:rPr lang="de-DE"/>
            </a:br>
            <a:r>
              <a:rPr lang="de-DE" sz="2000" err="1">
                <a:latin typeface="Arial" panose="020B0604020202020204" pitchFamily="34" charset="0"/>
              </a:rPr>
              <a:t>Improve</a:t>
            </a:r>
            <a:r>
              <a:rPr lang="de-DE" sz="2000">
                <a:latin typeface="Arial" panose="020B0604020202020204" pitchFamily="34" charset="0"/>
              </a:rPr>
              <a:t> </a:t>
            </a:r>
            <a:r>
              <a:rPr lang="de-DE" sz="2000" err="1">
                <a:latin typeface="Arial" panose="020B0604020202020204" pitchFamily="34" charset="0"/>
              </a:rPr>
              <a:t>process</a:t>
            </a:r>
            <a:r>
              <a:rPr lang="de-DE" sz="2000">
                <a:latin typeface="Arial" panose="020B0604020202020204" pitchFamily="34" charset="0"/>
              </a:rPr>
              <a:t> </a:t>
            </a:r>
            <a:r>
              <a:rPr lang="de-DE" sz="2000" err="1">
                <a:latin typeface="Arial" panose="020B0604020202020204" pitchFamily="34" charset="0"/>
              </a:rPr>
              <a:t>stability</a:t>
            </a:r>
            <a:r>
              <a:rPr lang="de-DE" sz="2000">
                <a:latin typeface="Arial" panose="020B0604020202020204" pitchFamily="34" charset="0"/>
              </a:rPr>
              <a:t> </a:t>
            </a:r>
            <a:r>
              <a:rPr lang="de-DE">
                <a:latin typeface="Arial" panose="020B0604020202020204" pitchFamily="34" charset="0"/>
              </a:rPr>
              <a:t>and </a:t>
            </a:r>
            <a:r>
              <a:rPr lang="de-DE" err="1">
                <a:latin typeface="Arial" panose="020B0604020202020204" pitchFamily="34" charset="0"/>
              </a:rPr>
              <a:t>reduce</a:t>
            </a:r>
            <a:r>
              <a:rPr lang="de-DE">
                <a:latin typeface="Arial" panose="020B0604020202020204" pitchFamily="34" charset="0"/>
              </a:rPr>
              <a:t> </a:t>
            </a:r>
            <a:r>
              <a:rPr lang="de-DE" err="1">
                <a:latin typeface="Arial" panose="020B0604020202020204" pitchFamily="34" charset="0"/>
              </a:rPr>
              <a:t>cycle</a:t>
            </a:r>
            <a:r>
              <a:rPr lang="de-DE">
                <a:latin typeface="Arial" panose="020B0604020202020204" pitchFamily="34" charset="0"/>
              </a:rPr>
              <a:t> </a:t>
            </a:r>
            <a:r>
              <a:rPr lang="de-DE" err="1">
                <a:latin typeface="Arial" panose="020B0604020202020204" pitchFamily="34" charset="0"/>
              </a:rPr>
              <a:t>times</a:t>
            </a:r>
            <a:endParaRPr lang="en-US" b="0" noProof="0"/>
          </a:p>
        </p:txBody>
      </p:sp>
      <p:sp>
        <p:nvSpPr>
          <p:cNvPr id="11" name="cdtText Placeholder 10 Id11"/>
          <p:cNvSpPr>
            <a:spLocks noGrp="1"/>
          </p:cNvSpPr>
          <p:nvPr>
            <p:ph type="body" sz="quarter" idx="4294967295"/>
          </p:nvPr>
        </p:nvSpPr>
        <p:spPr bwMode="gray">
          <a:xfrm>
            <a:off x="446025" y="1414463"/>
            <a:ext cx="7128000" cy="369204"/>
          </a:xfrm>
        </p:spPr>
        <p:txBody>
          <a:bodyPr>
            <a:noAutofit/>
          </a:bodyPr>
          <a:lstStyle/>
          <a:p>
            <a:pPr>
              <a:lnSpc>
                <a:spcPct val="100000"/>
              </a:lnSpc>
              <a:spcBef>
                <a:spcPts val="0"/>
              </a:spcBef>
              <a:spcAft>
                <a:spcPts val="600"/>
              </a:spcAft>
            </a:pPr>
            <a:r>
              <a:rPr lang="en-US" sz="2399" b="1">
                <a:latin typeface="Arial"/>
                <a:ea typeface="ＭＳ Ｐゴシック"/>
                <a:cs typeface="Arial"/>
              </a:rPr>
              <a:t>Customer profile</a:t>
            </a:r>
          </a:p>
        </p:txBody>
      </p:sp>
      <p:sp>
        <p:nvSpPr>
          <p:cNvPr id="5" name="Fußzeilenplatzhalter 4">
            <a:extLst>
              <a:ext uri="{FF2B5EF4-FFF2-40B4-BE49-F238E27FC236}">
                <a16:creationId xmlns:a16="http://schemas.microsoft.com/office/drawing/2014/main" id="{A2C6878B-A134-48CA-B792-7DFEB0FE42C0}"/>
              </a:ext>
            </a:extLst>
          </p:cNvPr>
          <p:cNvSpPr>
            <a:spLocks noGrp="1"/>
          </p:cNvSpPr>
          <p:nvPr>
            <p:ph type="ftr" sz="quarter" idx="10"/>
          </p:nvPr>
        </p:nvSpPr>
        <p:spPr/>
        <p:txBody>
          <a:bodyPr/>
          <a:lstStyle/>
          <a:p>
            <a:pPr>
              <a:lnSpc>
                <a:spcPct val="100000"/>
              </a:lnSpc>
            </a:pPr>
            <a:r>
              <a:rPr lang="en-US" noProof="0"/>
              <a:t>Unrestricted | © Siemens 2023 | MACHINUM</a:t>
            </a:r>
          </a:p>
        </p:txBody>
      </p:sp>
      <p:sp>
        <p:nvSpPr>
          <p:cNvPr id="6" name="Foliennummernplatzhalter 5">
            <a:extLst>
              <a:ext uri="{FF2B5EF4-FFF2-40B4-BE49-F238E27FC236}">
                <a16:creationId xmlns:a16="http://schemas.microsoft.com/office/drawing/2014/main" id="{1468E3E6-0A12-40EF-B911-2B7F916E07CA}"/>
              </a:ext>
            </a:extLst>
          </p:cNvPr>
          <p:cNvSpPr>
            <a:spLocks noGrp="1"/>
          </p:cNvSpPr>
          <p:nvPr>
            <p:ph type="sldNum" sz="quarter" idx="11"/>
          </p:nvPr>
        </p:nvSpPr>
        <p:spPr/>
        <p:txBody>
          <a:bodyPr/>
          <a:lstStyle/>
          <a:p>
            <a:r>
              <a:rPr lang="en-US" noProof="0"/>
              <a:t>Page </a:t>
            </a:r>
            <a:fld id="{15EBE321-CBB1-4E91-BD14-37C8D44326FB}" type="slidenum">
              <a:rPr lang="en-US" noProof="0" smtClean="0"/>
              <a:pPr/>
              <a:t>4</a:t>
            </a:fld>
            <a:endParaRPr lang="en-US" noProof="0"/>
          </a:p>
        </p:txBody>
      </p:sp>
      <p:pic>
        <p:nvPicPr>
          <p:cNvPr id="15" name="Siemens Logo">
            <a:extLst>
              <a:ext uri="{FF2B5EF4-FFF2-40B4-BE49-F238E27FC236}">
                <a16:creationId xmlns:a16="http://schemas.microsoft.com/office/drawing/2014/main" id="{1A9D8385-38F3-4496-8D48-6F4BA36249E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635188" y="6418800"/>
            <a:ext cx="1152000" cy="183168"/>
          </a:xfrm>
          <a:prstGeom prst="rect">
            <a:avLst/>
          </a:prstGeom>
        </p:spPr>
      </p:pic>
      <p:sp>
        <p:nvSpPr>
          <p:cNvPr id="18" name="cdtText Placeholder 10 Id11">
            <a:extLst>
              <a:ext uri="{FF2B5EF4-FFF2-40B4-BE49-F238E27FC236}">
                <a16:creationId xmlns:a16="http://schemas.microsoft.com/office/drawing/2014/main" id="{EA2D14DE-043A-42E1-8CFD-A5EB9B0412D8}"/>
              </a:ext>
            </a:extLst>
          </p:cNvPr>
          <p:cNvSpPr txBox="1">
            <a:spLocks/>
          </p:cNvSpPr>
          <p:nvPr/>
        </p:nvSpPr>
        <p:spPr bwMode="gray">
          <a:xfrm>
            <a:off x="411162" y="2333066"/>
            <a:ext cx="6751638" cy="134973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0"/>
              </a:spcAft>
              <a:buClr>
                <a:schemeClr val="accent1"/>
              </a:buClr>
              <a:defRPr/>
            </a:pPr>
            <a:r>
              <a:rPr lang="en-US" sz="1600" b="0" strike="noStrike" baseline="0" noProof="0">
                <a:solidFill>
                  <a:schemeClr val="tx1"/>
                </a:solidFill>
              </a:rPr>
              <a:t>The Chiron Group SE is specialist for vertical milling and </a:t>
            </a:r>
            <a:br>
              <a:rPr lang="en-US" sz="1600" b="0" strike="noStrike" baseline="0" noProof="0">
                <a:solidFill>
                  <a:schemeClr val="tx1"/>
                </a:solidFill>
              </a:rPr>
            </a:br>
            <a:r>
              <a:rPr lang="en-US" sz="1600" b="0" strike="noStrike" baseline="0" noProof="0">
                <a:solidFill>
                  <a:schemeClr val="tx1"/>
                </a:solidFill>
              </a:rPr>
              <a:t>mill-turning machining centers as well as for turnkey and automation competence. They offer c</a:t>
            </a:r>
            <a:r>
              <a:rPr lang="en-US" sz="1600" err="1"/>
              <a:t>omprehensive</a:t>
            </a:r>
            <a:r>
              <a:rPr lang="en-US" sz="1600"/>
              <a:t> services, digital solutions and products for additive manufacturing.</a:t>
            </a:r>
          </a:p>
        </p:txBody>
      </p:sp>
      <p:cxnSp>
        <p:nvCxnSpPr>
          <p:cNvPr id="19" name="Gerader Verbinder 18">
            <a:extLst>
              <a:ext uri="{FF2B5EF4-FFF2-40B4-BE49-F238E27FC236}">
                <a16:creationId xmlns:a16="http://schemas.microsoft.com/office/drawing/2014/main" id="{A20163A6-CD09-4567-9C0E-6D561E248C0B}"/>
              </a:ext>
            </a:extLst>
          </p:cNvPr>
          <p:cNvCxnSpPr/>
          <p:nvPr/>
        </p:nvCxnSpPr>
        <p:spPr>
          <a:xfrm>
            <a:off x="411163" y="1912256"/>
            <a:ext cx="433388" cy="0"/>
          </a:xfrm>
          <a:prstGeom prst="line">
            <a:avLst/>
          </a:prstGeom>
          <a:ln w="38100" cap="flat">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pic>
        <p:nvPicPr>
          <p:cNvPr id="1026" name="Picture 2" descr="CHIRON Group SE">
            <a:extLst>
              <a:ext uri="{FF2B5EF4-FFF2-40B4-BE49-F238E27FC236}">
                <a16:creationId xmlns:a16="http://schemas.microsoft.com/office/drawing/2014/main" id="{077D0544-5402-E2BC-9F8B-5D6F89E4700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25685" y="5000354"/>
            <a:ext cx="2739695" cy="83556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10505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2AE3AEB-1372-4018-A74B-C9F4D007F395}"/>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4" name="Objekt 3" hidden="1">
                        <a:extLst>
                          <a:ext uri="{FF2B5EF4-FFF2-40B4-BE49-F238E27FC236}">
                            <a16:creationId xmlns:a16="http://schemas.microsoft.com/office/drawing/2014/main" id="{D2AE3AEB-1372-4018-A74B-C9F4D007F395}"/>
                          </a:ext>
                        </a:extLst>
                      </p:cNvPr>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B8B9FEA1-5AAB-45F2-8F04-F346E56A4559}"/>
              </a:ext>
            </a:extLst>
          </p:cNvPr>
          <p:cNvSpPr/>
          <p:nvPr/>
        </p:nvSpPr>
        <p:spPr>
          <a:xfrm>
            <a:off x="7924446" y="0"/>
            <a:ext cx="426755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pic>
        <p:nvPicPr>
          <p:cNvPr id="2" name="Grafik 1">
            <a:extLst>
              <a:ext uri="{FF2B5EF4-FFF2-40B4-BE49-F238E27FC236}">
                <a16:creationId xmlns:a16="http://schemas.microsoft.com/office/drawing/2014/main" id="{EDB0478F-372B-597C-44D0-3A3F89FE2BF5}"/>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9987" b="89881" l="6870" r="95933">
                        <a14:foregroundMark x1="90327" y1="60847" x2="91319" y2="57903"/>
                        <a14:foregroundMark x1="86310" y1="55258" x2="76091" y2="50165"/>
                        <a14:foregroundMark x1="14410" y1="74206" x2="9003" y2="75000"/>
                        <a14:foregroundMark x1="95933" y1="75000" x2="94320" y2="71792"/>
                        <a14:foregroundMark x1="73909" y1="39749" x2="67684" y2="37103"/>
                        <a14:foregroundMark x1="78894" y1="38955" x2="79712" y2="38955"/>
                        <a14:foregroundMark x1="82316" y1="42692" x2="76091" y2="38161"/>
                        <a14:foregroundMark x1="81572" y1="39914" x2="71553" y2="38360"/>
                        <a14:foregroundMark x1="79936" y1="38624" x2="75298" y2="38095"/>
                        <a14:foregroundMark x1="7416" y1="79266" x2="6870" y2="77249"/>
                        <a14:backgroundMark x1="70288" y1="88095" x2="11806" y2="88360"/>
                        <a14:backgroundMark x1="68502" y1="85681" x2="94320" y2="84094"/>
                        <a14:backgroundMark x1="11310" y1="85251" x2="21577" y2="85946"/>
                        <a14:backgroundMark x1="21577" y1="85946" x2="57019" y2="84325"/>
                        <a14:backgroundMark x1="57019" y1="84325" x2="69916" y2="84358"/>
                        <a14:backgroundMark x1="69916" y1="84358" x2="92485" y2="83267"/>
                        <a14:backgroundMark x1="92485" y1="83267" x2="75174" y2="83896"/>
                      </a14:backgroundRemoval>
                    </a14:imgEffect>
                  </a14:imgLayer>
                </a14:imgProps>
              </a:ext>
            </a:extLst>
          </a:blip>
          <a:srcRect t="28021" b="11621"/>
          <a:stretch/>
        </p:blipFill>
        <p:spPr>
          <a:xfrm>
            <a:off x="1276009" y="3849593"/>
            <a:ext cx="4658686" cy="2108915"/>
          </a:xfrm>
          <a:prstGeom prst="rect">
            <a:avLst/>
          </a:prstGeom>
        </p:spPr>
      </p:pic>
      <p:sp>
        <p:nvSpPr>
          <p:cNvPr id="3" name="Rechteck 2" hidden="1">
            <a:extLst>
              <a:ext uri="{FF2B5EF4-FFF2-40B4-BE49-F238E27FC236}">
                <a16:creationId xmlns:a16="http://schemas.microsoft.com/office/drawing/2014/main" id="{3C58C7F8-0E06-4B11-B9F3-8351E44EF152}"/>
              </a:ext>
            </a:extLst>
          </p:cNvPr>
          <p:cNvSpPr/>
          <p:nvPr>
            <p:custDataLst>
              <p:tags r:id="rId3"/>
            </p:custDataLst>
          </p:nvPr>
        </p:nvSpPr>
        <p:spPr bwMode="gray">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algn="ctr">
              <a:lnSpc>
                <a:spcPct val="110000"/>
              </a:lnSpc>
              <a:spcBef>
                <a:spcPct val="0"/>
              </a:spcBef>
              <a:buFont typeface="Wingdings" charset="0"/>
              <a:buNone/>
            </a:pPr>
            <a:endParaRPr lang="en-US" sz="2199" b="1">
              <a:ea typeface="+mj-ea"/>
              <a:cs typeface="Arial" panose="020B0604020202020204" pitchFamily="34" charset="0"/>
              <a:sym typeface="Arial" panose="020B0604020202020204" pitchFamily="34" charset="0"/>
            </a:endParaRPr>
          </a:p>
        </p:txBody>
      </p:sp>
      <p:sp>
        <p:nvSpPr>
          <p:cNvPr id="22" name="cdtText Placeholder 10 Id11">
            <a:extLst>
              <a:ext uri="{FF2B5EF4-FFF2-40B4-BE49-F238E27FC236}">
                <a16:creationId xmlns:a16="http://schemas.microsoft.com/office/drawing/2014/main" id="{980F0221-5101-4C7F-8318-B1A9E145C8F6}"/>
              </a:ext>
            </a:extLst>
          </p:cNvPr>
          <p:cNvSpPr txBox="1">
            <a:spLocks/>
          </p:cNvSpPr>
          <p:nvPr/>
        </p:nvSpPr>
        <p:spPr bwMode="gray">
          <a:xfrm>
            <a:off x="447066" y="1428337"/>
            <a:ext cx="7128000" cy="36920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r>
              <a:rPr lang="de-DE" sz="2399" b="1">
                <a:latin typeface="Arial"/>
                <a:ea typeface="ＭＳ Ｐゴシック"/>
                <a:cs typeface="Arial"/>
              </a:rPr>
              <a:t>Customer </a:t>
            </a:r>
            <a:r>
              <a:rPr lang="de-DE" sz="2399" b="1" err="1">
                <a:latin typeface="Arial"/>
                <a:ea typeface="ＭＳ Ｐゴシック"/>
                <a:cs typeface="Arial"/>
              </a:rPr>
              <a:t>objectives</a:t>
            </a:r>
            <a:endParaRPr lang="de-DE" sz="2399" b="1">
              <a:latin typeface="Arial"/>
              <a:ea typeface="ＭＳ Ｐゴシック"/>
              <a:cs typeface="Arial"/>
            </a:endParaRPr>
          </a:p>
        </p:txBody>
      </p:sp>
      <p:sp>
        <p:nvSpPr>
          <p:cNvPr id="23" name="cdtText Placeholder 10 Id11">
            <a:extLst>
              <a:ext uri="{FF2B5EF4-FFF2-40B4-BE49-F238E27FC236}">
                <a16:creationId xmlns:a16="http://schemas.microsoft.com/office/drawing/2014/main" id="{5E1134AA-4EB7-4AE4-88D8-3502E0099F66}"/>
              </a:ext>
            </a:extLst>
          </p:cNvPr>
          <p:cNvSpPr txBox="1">
            <a:spLocks/>
          </p:cNvSpPr>
          <p:nvPr/>
        </p:nvSpPr>
        <p:spPr bwMode="gray">
          <a:xfrm>
            <a:off x="410400" y="2171078"/>
            <a:ext cx="6371400" cy="1628066"/>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spcAft>
                <a:spcPts val="0"/>
              </a:spcAft>
              <a:buClr>
                <a:schemeClr val="accent1"/>
              </a:buClr>
              <a:buSzPct val="100000"/>
            </a:pPr>
            <a:r>
              <a:rPr lang="de-DE" sz="1600" dirty="0">
                <a:latin typeface="Arial (Textkörper)"/>
                <a:ea typeface="Arial Unicode MS" panose="020B0604020202020204" pitchFamily="34" charset="-128"/>
                <a:cs typeface="Arial Unicode MS" panose="020B0604020202020204" pitchFamily="34" charset="-128"/>
              </a:rPr>
              <a:t>Due </a:t>
            </a:r>
            <a:r>
              <a:rPr lang="de-DE" sz="1600" dirty="0" err="1">
                <a:latin typeface="Arial (Textkörper)"/>
                <a:ea typeface="Arial Unicode MS" panose="020B0604020202020204" pitchFamily="34" charset="-128"/>
                <a:cs typeface="Arial Unicode MS" panose="020B0604020202020204" pitchFamily="34" charset="-128"/>
              </a:rPr>
              <a:t>to</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constant</a:t>
            </a:r>
            <a:r>
              <a:rPr lang="de-DE" sz="1600" dirty="0">
                <a:latin typeface="Arial (Textkörper)"/>
                <a:ea typeface="Arial Unicode MS" panose="020B0604020202020204" pitchFamily="34" charset="-128"/>
                <a:cs typeface="Arial Unicode MS" panose="020B0604020202020204" pitchFamily="34" charset="-128"/>
              </a:rPr>
              <a:t> material </a:t>
            </a:r>
            <a:r>
              <a:rPr lang="de-DE" sz="1600" dirty="0" err="1">
                <a:latin typeface="Arial (Textkörper)"/>
                <a:ea typeface="Arial Unicode MS" panose="020B0604020202020204" pitchFamily="34" charset="-128"/>
                <a:cs typeface="Arial Unicode MS" panose="020B0604020202020204" pitchFamily="34" charset="-128"/>
              </a:rPr>
              <a:t>output</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the</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thickness</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of</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the</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coating</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increased</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when</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the</a:t>
            </a:r>
            <a:r>
              <a:rPr lang="de-DE" sz="1600" dirty="0">
                <a:latin typeface="Arial (Textkörper)"/>
                <a:ea typeface="Arial Unicode MS" panose="020B0604020202020204" pitchFamily="34" charset="-128"/>
                <a:cs typeface="Arial Unicode MS" panose="020B0604020202020204" pitchFamily="34" charset="-128"/>
              </a:rPr>
              <a:t> </a:t>
            </a:r>
            <a:r>
              <a:rPr lang="de-DE" sz="1600" dirty="0" err="1">
                <a:latin typeface="Arial (Textkörper)"/>
                <a:ea typeface="Arial Unicode MS" panose="020B0604020202020204" pitchFamily="34" charset="-128"/>
                <a:cs typeface="Arial Unicode MS" panose="020B0604020202020204" pitchFamily="34" charset="-128"/>
              </a:rPr>
              <a:t>speed</a:t>
            </a:r>
            <a:r>
              <a:rPr lang="de-DE" sz="1600" dirty="0">
                <a:latin typeface="Arial (Textkörper)"/>
                <a:ea typeface="Arial Unicode MS" panose="020B0604020202020204" pitchFamily="34" charset="-128"/>
                <a:cs typeface="Arial Unicode MS" panose="020B0604020202020204" pitchFamily="34" charset="-128"/>
              </a:rPr>
              <a:t> was </a:t>
            </a:r>
            <a:r>
              <a:rPr lang="de-DE" sz="1600" dirty="0" err="1">
                <a:latin typeface="Arial (Textkörper)"/>
                <a:ea typeface="Arial Unicode MS" panose="020B0604020202020204" pitchFamily="34" charset="-128"/>
                <a:cs typeface="Arial Unicode MS" panose="020B0604020202020204" pitchFamily="34" charset="-128"/>
              </a:rPr>
              <a:t>reduced</a:t>
            </a:r>
            <a:r>
              <a:rPr lang="de-DE" sz="1600" dirty="0">
                <a:latin typeface="Arial (Textkörper)"/>
                <a:ea typeface="Arial Unicode MS" panose="020B0604020202020204" pitchFamily="34" charset="-128"/>
                <a:cs typeface="Arial Unicode MS" panose="020B0604020202020204" pitchFamily="34" charset="-128"/>
              </a:rPr>
              <a:t>. </a:t>
            </a:r>
          </a:p>
          <a:p>
            <a:pPr>
              <a:lnSpc>
                <a:spcPct val="100000"/>
              </a:lnSpc>
              <a:spcBef>
                <a:spcPts val="600"/>
              </a:spcBef>
              <a:spcAft>
                <a:spcPts val="0"/>
              </a:spcAft>
              <a:buClr>
                <a:schemeClr val="accent1"/>
              </a:buClr>
              <a:buSzPct val="100000"/>
            </a:pPr>
            <a:r>
              <a:rPr lang="de-DE" sz="1600" b="0" i="0" dirty="0" err="1">
                <a:effectLst/>
                <a:latin typeface="Arial (Textkörper)"/>
              </a:rPr>
              <a:t>With</a:t>
            </a:r>
            <a:r>
              <a:rPr lang="de-DE" sz="1600" b="0" i="0" dirty="0">
                <a:effectLst/>
                <a:latin typeface="Arial (Textkörper)"/>
              </a:rPr>
              <a:t> Analyze MyWorkpiece/Toolpath </a:t>
            </a:r>
            <a:r>
              <a:rPr lang="de-DE" sz="1600" b="0" i="0" dirty="0" err="1">
                <a:effectLst/>
                <a:latin typeface="Arial (Textkörper)"/>
              </a:rPr>
              <a:t>it</a:t>
            </a:r>
            <a:r>
              <a:rPr lang="de-DE" sz="1600" b="0" i="0" dirty="0">
                <a:effectLst/>
                <a:latin typeface="Arial (Textkörper)"/>
              </a:rPr>
              <a:t> </a:t>
            </a:r>
            <a:r>
              <a:rPr lang="de-DE" sz="1600" b="0" i="0" dirty="0" err="1">
                <a:effectLst/>
                <a:latin typeface="Arial (Textkörper)"/>
              </a:rPr>
              <a:t>should</a:t>
            </a:r>
            <a:r>
              <a:rPr lang="de-DE" sz="1600" b="0" i="0" dirty="0">
                <a:effectLst/>
                <a:latin typeface="Arial (Textkörper)"/>
              </a:rPr>
              <a:t> </a:t>
            </a:r>
            <a:r>
              <a:rPr lang="de-DE" sz="1600" b="0" i="0" dirty="0" err="1">
                <a:effectLst/>
                <a:latin typeface="Arial (Textkörper)"/>
              </a:rPr>
              <a:t>be</a:t>
            </a:r>
            <a:r>
              <a:rPr lang="de-DE" sz="1600" b="0" i="0" dirty="0">
                <a:effectLst/>
                <a:latin typeface="Arial (Textkörper)"/>
              </a:rPr>
              <a:t> </a:t>
            </a:r>
            <a:r>
              <a:rPr lang="de-DE" sz="1600" b="0" i="0" dirty="0" err="1">
                <a:effectLst/>
                <a:latin typeface="Arial (Textkörper)"/>
              </a:rPr>
              <a:t>analyzed</a:t>
            </a:r>
            <a:r>
              <a:rPr lang="de-DE" sz="1600" b="0" i="0" dirty="0">
                <a:effectLst/>
                <a:latin typeface="Arial (Textkörper)"/>
              </a:rPr>
              <a:t> </a:t>
            </a:r>
            <a:r>
              <a:rPr lang="de-DE" sz="1600" b="0" i="0" dirty="0" err="1">
                <a:effectLst/>
                <a:latin typeface="Arial (Textkörper)"/>
              </a:rPr>
              <a:t>whether</a:t>
            </a:r>
            <a:r>
              <a:rPr lang="de-DE" sz="1600" b="0" i="0" dirty="0">
                <a:effectLst/>
                <a:latin typeface="Arial (Textkörper)"/>
              </a:rPr>
              <a:t> </a:t>
            </a:r>
            <a:r>
              <a:rPr lang="de-DE" sz="1600" b="0" i="0" dirty="0" err="1">
                <a:effectLst/>
                <a:latin typeface="Arial (Textkörper)"/>
              </a:rPr>
              <a:t>the</a:t>
            </a:r>
            <a:r>
              <a:rPr lang="de-DE" sz="1600" b="0" i="0" dirty="0">
                <a:effectLst/>
                <a:latin typeface="Arial (Textkörper)"/>
              </a:rPr>
              <a:t> </a:t>
            </a:r>
            <a:r>
              <a:rPr lang="de-DE" sz="1600" b="0" i="0" dirty="0" err="1">
                <a:effectLst/>
                <a:latin typeface="Arial (Textkörper)"/>
              </a:rPr>
              <a:t>speed</a:t>
            </a:r>
            <a:r>
              <a:rPr lang="de-DE" sz="1600" b="0" i="0" dirty="0">
                <a:effectLst/>
                <a:latin typeface="Arial (Textkörper)"/>
              </a:rPr>
              <a:t> </a:t>
            </a:r>
            <a:r>
              <a:rPr lang="de-DE" sz="1600" dirty="0" err="1">
                <a:latin typeface="Arial (Textkörper)"/>
              </a:rPr>
              <a:t>dips</a:t>
            </a:r>
            <a:r>
              <a:rPr lang="de-DE" sz="1600" b="0" i="0" dirty="0">
                <a:effectLst/>
                <a:latin typeface="Arial (Textkörper)"/>
              </a:rPr>
              <a:t> </a:t>
            </a:r>
            <a:r>
              <a:rPr lang="de-DE" sz="1600" b="0" i="0" dirty="0" err="1">
                <a:effectLst/>
                <a:latin typeface="Arial (Textkörper)"/>
              </a:rPr>
              <a:t>are</a:t>
            </a:r>
            <a:r>
              <a:rPr lang="de-DE" sz="1600" b="0" i="0" dirty="0">
                <a:effectLst/>
                <a:latin typeface="Arial (Textkörper)"/>
              </a:rPr>
              <a:t> </a:t>
            </a:r>
            <a:r>
              <a:rPr lang="de-DE" sz="1600" b="0" i="0" dirty="0" err="1">
                <a:effectLst/>
                <a:latin typeface="Arial (Textkörper)"/>
              </a:rPr>
              <a:t>caused</a:t>
            </a:r>
            <a:r>
              <a:rPr lang="de-DE" sz="1600" b="0" i="0" dirty="0">
                <a:effectLst/>
                <a:latin typeface="Arial (Textkörper)"/>
              </a:rPr>
              <a:t> </a:t>
            </a:r>
            <a:r>
              <a:rPr lang="de-DE" sz="1600" b="0" i="0" dirty="0" err="1">
                <a:effectLst/>
                <a:latin typeface="Arial (Textkörper)"/>
              </a:rPr>
              <a:t>by</a:t>
            </a:r>
            <a:r>
              <a:rPr lang="de-DE" sz="1600" b="0" i="0" dirty="0">
                <a:effectLst/>
                <a:latin typeface="Arial (Textkörper)"/>
              </a:rPr>
              <a:t> </a:t>
            </a:r>
            <a:r>
              <a:rPr lang="de-DE" sz="1600" b="0" i="0" dirty="0" err="1">
                <a:effectLst/>
                <a:latin typeface="Arial (Textkörper)"/>
              </a:rPr>
              <a:t>the</a:t>
            </a:r>
            <a:r>
              <a:rPr lang="de-DE" sz="1600" b="0" i="0" dirty="0">
                <a:effectLst/>
                <a:latin typeface="Arial (Textkörper)"/>
              </a:rPr>
              <a:t> </a:t>
            </a:r>
            <a:r>
              <a:rPr lang="de-DE" sz="1600" b="0" i="0" dirty="0" err="1">
                <a:effectLst/>
                <a:latin typeface="Arial (Textkörper)"/>
              </a:rPr>
              <a:t>part</a:t>
            </a:r>
            <a:r>
              <a:rPr lang="de-DE" sz="1600" b="0" i="0" dirty="0">
                <a:effectLst/>
                <a:latin typeface="Arial (Textkörper)"/>
              </a:rPr>
              <a:t> </a:t>
            </a:r>
            <a:r>
              <a:rPr lang="de-DE" sz="1600" b="0" i="0" dirty="0" err="1">
                <a:effectLst/>
                <a:latin typeface="Arial (Textkörper)"/>
              </a:rPr>
              <a:t>model</a:t>
            </a:r>
            <a:r>
              <a:rPr lang="de-DE" sz="1600" b="0" i="0" dirty="0">
                <a:effectLst/>
                <a:latin typeface="Arial (Textkörper)"/>
              </a:rPr>
              <a:t>, </a:t>
            </a:r>
            <a:r>
              <a:rPr lang="de-DE" sz="1600" b="0" i="0" dirty="0" err="1">
                <a:effectLst/>
                <a:latin typeface="Arial (Textkörper)"/>
              </a:rPr>
              <a:t>the</a:t>
            </a:r>
            <a:r>
              <a:rPr lang="de-DE" sz="1600" b="0" i="0" dirty="0">
                <a:effectLst/>
                <a:latin typeface="Arial (Textkörper)"/>
              </a:rPr>
              <a:t> </a:t>
            </a:r>
            <a:r>
              <a:rPr lang="de-DE" sz="1600" b="0" i="0" dirty="0" err="1">
                <a:effectLst/>
                <a:latin typeface="Arial (Textkörper)"/>
              </a:rPr>
              <a:t>program</a:t>
            </a:r>
            <a:r>
              <a:rPr lang="de-DE" sz="1600" b="0" i="0" dirty="0">
                <a:effectLst/>
                <a:latin typeface="Arial (Textkörper)"/>
              </a:rPr>
              <a:t>, </a:t>
            </a:r>
            <a:r>
              <a:rPr lang="de-DE" sz="1600" b="0" i="0" dirty="0" err="1">
                <a:effectLst/>
                <a:latin typeface="Arial (Textkörper)"/>
              </a:rPr>
              <a:t>the</a:t>
            </a:r>
            <a:r>
              <a:rPr lang="de-DE" sz="1600" b="0" i="0" dirty="0">
                <a:effectLst/>
                <a:latin typeface="Arial (Textkörper)"/>
              </a:rPr>
              <a:t> </a:t>
            </a:r>
            <a:r>
              <a:rPr lang="de-DE" sz="1600" b="0" i="0" dirty="0" err="1">
                <a:effectLst/>
                <a:latin typeface="Arial (Textkörper)"/>
              </a:rPr>
              <a:t>machine</a:t>
            </a:r>
            <a:r>
              <a:rPr lang="de-DE" sz="1600" b="0" i="0" dirty="0">
                <a:effectLst/>
                <a:latin typeface="Arial (Textkörper)"/>
              </a:rPr>
              <a:t> </a:t>
            </a:r>
            <a:r>
              <a:rPr lang="de-DE" sz="1600" b="0" i="0" dirty="0" err="1">
                <a:effectLst/>
                <a:latin typeface="Arial (Textkörper)"/>
              </a:rPr>
              <a:t>parameter</a:t>
            </a:r>
            <a:r>
              <a:rPr lang="de-DE" sz="1600" b="0" i="0" dirty="0">
                <a:effectLst/>
                <a:latin typeface="Arial (Textkörper)"/>
              </a:rPr>
              <a:t> </a:t>
            </a:r>
            <a:r>
              <a:rPr lang="de-DE" sz="1600" b="0" i="0" dirty="0" err="1">
                <a:effectLst/>
                <a:latin typeface="Arial (Textkörper)"/>
              </a:rPr>
              <a:t>settings</a:t>
            </a:r>
            <a:r>
              <a:rPr lang="de-DE" sz="1600" b="0" i="0" dirty="0">
                <a:effectLst/>
                <a:latin typeface="Arial (Textkörper)"/>
              </a:rPr>
              <a:t>, </a:t>
            </a:r>
            <a:r>
              <a:rPr lang="de-DE" sz="1600" b="0" i="0" dirty="0" err="1">
                <a:effectLst/>
                <a:latin typeface="Arial (Textkörper)"/>
              </a:rPr>
              <a:t>or</a:t>
            </a:r>
            <a:r>
              <a:rPr lang="de-DE" sz="1600" b="0" i="0" dirty="0">
                <a:effectLst/>
                <a:latin typeface="Arial (Textkörper)"/>
              </a:rPr>
              <a:t> </a:t>
            </a:r>
            <a:r>
              <a:rPr lang="de-DE" sz="1600" b="0" i="0" dirty="0" err="1">
                <a:effectLst/>
                <a:latin typeface="Arial (Textkörper)"/>
              </a:rPr>
              <a:t>the</a:t>
            </a:r>
            <a:r>
              <a:rPr lang="de-DE" sz="1600" b="0" i="0" dirty="0">
                <a:effectLst/>
                <a:latin typeface="Arial (Textkörper)"/>
              </a:rPr>
              <a:t> </a:t>
            </a:r>
            <a:r>
              <a:rPr lang="de-DE" sz="1600" b="0" i="0" dirty="0" err="1">
                <a:effectLst/>
                <a:latin typeface="Arial (Textkörper)"/>
              </a:rPr>
              <a:t>machine</a:t>
            </a:r>
            <a:r>
              <a:rPr lang="de-DE" sz="1600" b="0" i="0" dirty="0">
                <a:effectLst/>
                <a:latin typeface="Arial (Textkörper)"/>
              </a:rPr>
              <a:t> </a:t>
            </a:r>
            <a:r>
              <a:rPr lang="de-DE" sz="1600" b="0" i="0" dirty="0" err="1">
                <a:effectLst/>
                <a:latin typeface="Arial (Textkörper)"/>
              </a:rPr>
              <a:t>mechanics</a:t>
            </a:r>
            <a:r>
              <a:rPr lang="de-DE" sz="1600" dirty="0">
                <a:latin typeface="Arial (Textkörper)"/>
              </a:rPr>
              <a:t>.</a:t>
            </a:r>
            <a:endParaRPr lang="de-DE" sz="1600" dirty="0">
              <a:latin typeface="+mj-lt"/>
            </a:endParaRPr>
          </a:p>
        </p:txBody>
      </p:sp>
      <p:cxnSp>
        <p:nvCxnSpPr>
          <p:cNvPr id="24" name="Gerader Verbinder 23">
            <a:extLst>
              <a:ext uri="{FF2B5EF4-FFF2-40B4-BE49-F238E27FC236}">
                <a16:creationId xmlns:a16="http://schemas.microsoft.com/office/drawing/2014/main" id="{68EC42FE-8C51-4CD5-85FA-57C3ABE41BC7}"/>
              </a:ext>
            </a:extLst>
          </p:cNvPr>
          <p:cNvCxnSpPr/>
          <p:nvPr/>
        </p:nvCxnSpPr>
        <p:spPr>
          <a:xfrm>
            <a:off x="411163" y="1843741"/>
            <a:ext cx="433388" cy="0"/>
          </a:xfrm>
          <a:prstGeom prst="line">
            <a:avLst/>
          </a:prstGeom>
          <a:ln w="38100" cap="flat">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 name="Titel 6">
            <a:extLst>
              <a:ext uri="{FF2B5EF4-FFF2-40B4-BE49-F238E27FC236}">
                <a16:creationId xmlns:a16="http://schemas.microsoft.com/office/drawing/2014/main" id="{845E8591-094C-458E-BE2D-49D7EE6588DC}"/>
              </a:ext>
            </a:extLst>
          </p:cNvPr>
          <p:cNvSpPr>
            <a:spLocks noGrp="1"/>
          </p:cNvSpPr>
          <p:nvPr>
            <p:ph type="title"/>
          </p:nvPr>
        </p:nvSpPr>
        <p:spPr/>
        <p:txBody>
          <a:bodyPr vert="horz"/>
          <a:lstStyle/>
          <a:p>
            <a:r>
              <a:rPr lang="de-DE"/>
              <a:t>Analyze MyWorkpiece /Toolpath, Chiron Group SE - </a:t>
            </a:r>
            <a:br>
              <a:rPr lang="de-DE"/>
            </a:br>
            <a:r>
              <a:rPr lang="de-DE" sz="2000">
                <a:latin typeface="Arial" panose="020B0604020202020204" pitchFamily="34" charset="0"/>
              </a:rPr>
              <a:t>Improve process stability </a:t>
            </a:r>
            <a:r>
              <a:rPr lang="de-DE">
                <a:latin typeface="Arial" panose="020B0604020202020204" pitchFamily="34" charset="0"/>
              </a:rPr>
              <a:t>and reduce cycle times</a:t>
            </a:r>
            <a:endParaRPr lang="de-DE">
              <a:solidFill>
                <a:srgbClr val="FF0000"/>
              </a:solidFill>
            </a:endParaRPr>
          </a:p>
        </p:txBody>
      </p:sp>
      <p:sp>
        <p:nvSpPr>
          <p:cNvPr id="12" name="Ellipse 11">
            <a:extLst>
              <a:ext uri="{FF2B5EF4-FFF2-40B4-BE49-F238E27FC236}">
                <a16:creationId xmlns:a16="http://schemas.microsoft.com/office/drawing/2014/main" id="{74A1DEAB-00AE-329A-212D-E63F0BBD34B3}"/>
              </a:ext>
            </a:extLst>
          </p:cNvPr>
          <p:cNvSpPr/>
          <p:nvPr/>
        </p:nvSpPr>
        <p:spPr>
          <a:xfrm>
            <a:off x="4410590" y="4560727"/>
            <a:ext cx="648393" cy="54720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0" name="Fußzeilenplatzhalter 7">
            <a:extLst>
              <a:ext uri="{FF2B5EF4-FFF2-40B4-BE49-F238E27FC236}">
                <a16:creationId xmlns:a16="http://schemas.microsoft.com/office/drawing/2014/main" id="{146F2D75-B0D1-E5E6-89F9-BAC475FEAD69}"/>
              </a:ext>
            </a:extLst>
          </p:cNvPr>
          <p:cNvSpPr>
            <a:spLocks noGrp="1"/>
          </p:cNvSpPr>
          <p:nvPr>
            <p:ph type="ftr" sz="quarter" idx="10"/>
          </p:nvPr>
        </p:nvSpPr>
        <p:spPr>
          <a:xfrm>
            <a:off x="1059160" y="6310800"/>
            <a:ext cx="9216000" cy="547200"/>
          </a:xfrm>
        </p:spPr>
        <p:txBody>
          <a:bodyPr/>
          <a:lstStyle/>
          <a:p>
            <a:pPr>
              <a:lnSpc>
                <a:spcPct val="100000"/>
              </a:lnSpc>
            </a:pPr>
            <a:r>
              <a:rPr lang="en-US" noProof="0"/>
              <a:t>Unrestricted | © Siemens 2023 | MACHINUM</a:t>
            </a:r>
          </a:p>
        </p:txBody>
      </p:sp>
      <p:sp>
        <p:nvSpPr>
          <p:cNvPr id="11" name="Foliennummernplatzhalter 8">
            <a:extLst>
              <a:ext uri="{FF2B5EF4-FFF2-40B4-BE49-F238E27FC236}">
                <a16:creationId xmlns:a16="http://schemas.microsoft.com/office/drawing/2014/main" id="{6218FDDB-28E1-2589-7A09-4F05F090A44D}"/>
              </a:ext>
            </a:extLst>
          </p:cNvPr>
          <p:cNvSpPr>
            <a:spLocks noGrp="1"/>
          </p:cNvSpPr>
          <p:nvPr>
            <p:ph type="sldNum" sz="quarter" idx="11"/>
          </p:nvPr>
        </p:nvSpPr>
        <p:spPr>
          <a:xfrm>
            <a:off x="411162" y="6310800"/>
            <a:ext cx="648000" cy="547200"/>
          </a:xfrm>
        </p:spPr>
        <p:txBody>
          <a:bodyPr/>
          <a:lstStyle/>
          <a:p>
            <a:r>
              <a:rPr lang="en-US" noProof="0"/>
              <a:t>Page </a:t>
            </a:r>
            <a:fld id="{15EBE321-CBB1-4E91-BD14-37C8D44326FB}" type="slidenum">
              <a:rPr lang="en-US" noProof="0" smtClean="0"/>
              <a:t>5</a:t>
            </a:fld>
            <a:endParaRPr lang="en-US" noProof="0"/>
          </a:p>
        </p:txBody>
      </p:sp>
      <p:pic>
        <p:nvPicPr>
          <p:cNvPr id="6" name="Grafik 5">
            <a:extLst>
              <a:ext uri="{FF2B5EF4-FFF2-40B4-BE49-F238E27FC236}">
                <a16:creationId xmlns:a16="http://schemas.microsoft.com/office/drawing/2014/main" id="{1764EF25-1BEE-5A11-E6EC-585AA79EADA8}"/>
              </a:ext>
            </a:extLst>
          </p:cNvPr>
          <p:cNvPicPr>
            <a:picLocks noChangeAspect="1"/>
          </p:cNvPicPr>
          <p:nvPr/>
        </p:nvPicPr>
        <p:blipFill>
          <a:blip r:embed="rId10"/>
          <a:stretch>
            <a:fillRect/>
          </a:stretch>
        </p:blipFill>
        <p:spPr>
          <a:xfrm>
            <a:off x="8186738" y="1827778"/>
            <a:ext cx="3587830" cy="3710043"/>
          </a:xfrm>
          <a:prstGeom prst="rect">
            <a:avLst/>
          </a:prstGeom>
        </p:spPr>
      </p:pic>
      <p:pic>
        <p:nvPicPr>
          <p:cNvPr id="9" name="Siemens Logo">
            <a:extLst>
              <a:ext uri="{FF2B5EF4-FFF2-40B4-BE49-F238E27FC236}">
                <a16:creationId xmlns:a16="http://schemas.microsoft.com/office/drawing/2014/main" id="{23D65AA5-B3FB-54D1-6B27-2DD84B555CC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635188" y="6418800"/>
            <a:ext cx="1152000" cy="183168"/>
          </a:xfrm>
          <a:prstGeom prst="rect">
            <a:avLst/>
          </a:prstGeom>
        </p:spPr>
      </p:pic>
    </p:spTree>
    <p:custDataLst>
      <p:tags r:id="rId1"/>
    </p:custDataLst>
    <p:extLst>
      <p:ext uri="{BB962C8B-B14F-4D97-AF65-F5344CB8AC3E}">
        <p14:creationId xmlns:p14="http://schemas.microsoft.com/office/powerpoint/2010/main" val="1187811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own Arrow 308">
            <a:extLst>
              <a:ext uri="{FF2B5EF4-FFF2-40B4-BE49-F238E27FC236}">
                <a16:creationId xmlns:a16="http://schemas.microsoft.com/office/drawing/2014/main" id="{0C8A8A41-DA37-0FD3-8C5D-9C46D624D114}"/>
              </a:ext>
            </a:extLst>
          </p:cNvPr>
          <p:cNvSpPr/>
          <p:nvPr/>
        </p:nvSpPr>
        <p:spPr bwMode="auto">
          <a:xfrm>
            <a:off x="10110865" y="2932820"/>
            <a:ext cx="229649" cy="797481"/>
          </a:xfrm>
          <a:prstGeom prst="downArrow">
            <a:avLst/>
          </a:prstGeom>
          <a:solidFill>
            <a:schemeClr val="accent1"/>
          </a:solidFill>
          <a:ln>
            <a:noFill/>
          </a:ln>
          <a:effectLst/>
        </p:spPr>
        <p:txBody>
          <a:bodyPr wrap="square" lIns="107944" tIns="53972" rIns="107944" bIns="53972" numCol="1" spcCol="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base" hangingPunct="1">
              <a:lnSpc>
                <a:spcPct val="110000"/>
              </a:lnSpc>
              <a:spcBef>
                <a:spcPct val="0"/>
              </a:spcBef>
              <a:spcAft>
                <a:spcPct val="0"/>
              </a:spcAft>
              <a:buFont typeface="Wingdings" charset="0"/>
              <a:buNone/>
            </a:pPr>
            <a:endParaRPr lang="en-us" sz="1799">
              <a:solidFill>
                <a:srgbClr val="000000"/>
              </a:solidFill>
              <a:latin typeface="Arial"/>
              <a:ea typeface="Arial Unicode MS" panose="020B0604020202020204" pitchFamily="34" charset="-128"/>
              <a:cs typeface="Arial Unicode MS" panose="020B0604020202020204" pitchFamily="34" charset="-128"/>
            </a:endParaRPr>
          </a:p>
        </p:txBody>
      </p:sp>
      <p:sp>
        <p:nvSpPr>
          <p:cNvPr id="5" name="Down Arrow 308">
            <a:extLst>
              <a:ext uri="{FF2B5EF4-FFF2-40B4-BE49-F238E27FC236}">
                <a16:creationId xmlns:a16="http://schemas.microsoft.com/office/drawing/2014/main" id="{585595CA-E65D-CA48-7F94-D6021EAE2D73}"/>
              </a:ext>
            </a:extLst>
          </p:cNvPr>
          <p:cNvSpPr/>
          <p:nvPr/>
        </p:nvSpPr>
        <p:spPr bwMode="auto">
          <a:xfrm>
            <a:off x="7443154" y="2928515"/>
            <a:ext cx="229649" cy="797481"/>
          </a:xfrm>
          <a:prstGeom prst="downArrow">
            <a:avLst/>
          </a:prstGeom>
          <a:solidFill>
            <a:schemeClr val="accent1"/>
          </a:solidFill>
          <a:ln>
            <a:noFill/>
          </a:ln>
          <a:effectLst/>
        </p:spPr>
        <p:txBody>
          <a:bodyPr wrap="square" lIns="107944" tIns="53972" rIns="107944" bIns="53972" numCol="1" spcCol="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base" hangingPunct="1">
              <a:lnSpc>
                <a:spcPct val="110000"/>
              </a:lnSpc>
              <a:spcBef>
                <a:spcPct val="0"/>
              </a:spcBef>
              <a:spcAft>
                <a:spcPct val="0"/>
              </a:spcAft>
              <a:buFont typeface="Wingdings" charset="0"/>
              <a:buNone/>
            </a:pPr>
            <a:endParaRPr lang="en-us" sz="1799">
              <a:solidFill>
                <a:srgbClr val="000000"/>
              </a:solidFill>
              <a:latin typeface="Arial"/>
              <a:ea typeface="Arial Unicode MS" panose="020B0604020202020204" pitchFamily="34" charset="-128"/>
              <a:cs typeface="Arial Unicode MS" panose="020B0604020202020204" pitchFamily="34" charset="-128"/>
            </a:endParaRPr>
          </a:p>
        </p:txBody>
      </p:sp>
      <p:sp>
        <p:nvSpPr>
          <p:cNvPr id="114695" name="TextBox 16">
            <a:extLst>
              <a:ext uri="{FF2B5EF4-FFF2-40B4-BE49-F238E27FC236}">
                <a16:creationId xmlns:a16="http://schemas.microsoft.com/office/drawing/2014/main" id="{392D187B-6AD2-F06A-8944-8E8F0DFE2896}"/>
              </a:ext>
            </a:extLst>
          </p:cNvPr>
          <p:cNvSpPr txBox="1"/>
          <p:nvPr/>
        </p:nvSpPr>
        <p:spPr>
          <a:xfrm>
            <a:off x="6422138" y="1395672"/>
            <a:ext cx="5187655" cy="1548000"/>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lnSpc>
                <a:spcPct val="110000"/>
              </a:lnSpc>
              <a:spcAft>
                <a:spcPct val="0"/>
              </a:spcAft>
            </a:pPr>
            <a:endParaRPr lang="en-us" sz="1199" b="0" i="0" u="none" baseline="0">
              <a:latin typeface="Arial"/>
              <a:ea typeface="Arial Unicode MS" panose="020B0604020202020204" pitchFamily="34" charset="-128"/>
              <a:cs typeface="Arial Unicode MS" panose="020B0604020202020204" pitchFamily="34" charset="-128"/>
            </a:endParaRPr>
          </a:p>
        </p:txBody>
      </p:sp>
      <p:sp>
        <p:nvSpPr>
          <p:cNvPr id="114690" name="cdtRectangle 2 Id114690"/>
          <p:cNvSpPr>
            <a:spLocks noGrp="1" noChangeArrowheads="1"/>
          </p:cNvSpPr>
          <p:nvPr>
            <p:ph type="title"/>
          </p:nvPr>
        </p:nvSpPr>
        <p:spPr>
          <a:xfrm>
            <a:off x="410303" y="478100"/>
            <a:ext cx="10643726" cy="576000"/>
          </a:xfrm>
        </p:spPr>
        <p:txBody>
          <a:bodyPr/>
          <a:lstStyle/>
          <a:p>
            <a:r>
              <a:rPr lang="en-us"/>
              <a:t>Analyze MyWorkpiece /Toolpath</a:t>
            </a:r>
            <a:br>
              <a:rPr lang="en-us"/>
            </a:br>
            <a:r>
              <a:rPr lang="de-DE"/>
              <a:t>Data analysis reveals the root cause of quality and productivity problems</a:t>
            </a:r>
            <a:endParaRPr lang="en-us"/>
          </a:p>
        </p:txBody>
      </p:sp>
      <p:sp>
        <p:nvSpPr>
          <p:cNvPr id="34" name="TextBox 3">
            <a:extLst>
              <a:ext uri="{FF2B5EF4-FFF2-40B4-BE49-F238E27FC236}">
                <a16:creationId xmlns:a16="http://schemas.microsoft.com/office/drawing/2014/main" id="{E43E06C2-4115-446E-A38A-28A02DCD1C70}"/>
              </a:ext>
            </a:extLst>
          </p:cNvPr>
          <p:cNvSpPr txBox="1"/>
          <p:nvPr/>
        </p:nvSpPr>
        <p:spPr>
          <a:xfrm>
            <a:off x="8185791" y="3826637"/>
            <a:ext cx="3600000" cy="2340800"/>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de-DE" sz="1199" b="0" i="0" u="none" baseline="0">
                <a:solidFill>
                  <a:schemeClr val="tx1"/>
                </a:solidFill>
              </a:rPr>
              <a:t>Data analysis with </a:t>
            </a:r>
            <a:r>
              <a:rPr lang="de-DE" sz="1199" b="1">
                <a:solidFill>
                  <a:schemeClr val="accent1"/>
                </a:solidFill>
              </a:rPr>
              <a:t>Industrial Edge </a:t>
            </a:r>
            <a:r>
              <a:rPr lang="de-DE" sz="1199" b="0" i="0" u="none" baseline="0">
                <a:solidFill>
                  <a:schemeClr val="tx1"/>
                </a:solidFill>
              </a:rPr>
              <a:t>or </a:t>
            </a:r>
            <a:r>
              <a:rPr lang="de-DE" sz="1199" b="1">
                <a:solidFill>
                  <a:schemeClr val="accent1"/>
                </a:solidFill>
              </a:rPr>
              <a:t>SINUMERIK </a:t>
            </a:r>
            <a:r>
              <a:rPr lang="de-DE" sz="1199" b="1" err="1">
                <a:solidFill>
                  <a:schemeClr val="accent1"/>
                </a:solidFill>
              </a:rPr>
              <a:t>Operate </a:t>
            </a:r>
            <a:r>
              <a:rPr lang="de-DE" sz="1199" b="1">
                <a:solidFill>
                  <a:schemeClr val="accent1"/>
                </a:solidFill>
              </a:rPr>
              <a:t>Trace</a:t>
            </a:r>
          </a:p>
          <a:p>
            <a:pPr marL="171450" indent="-171450" algn="l" rtl="0">
              <a:buFont typeface="Arial" panose="020B0604020202020204" pitchFamily="34" charset="0"/>
              <a:buChar char="•"/>
            </a:pPr>
            <a:r>
              <a:rPr lang="de-DE" sz="1199" b="0" i="0" u="none" baseline="0">
                <a:solidFill>
                  <a:schemeClr val="tx1"/>
                </a:solidFill>
              </a:rPr>
              <a:t>Analyze the behavior of the machine tool including drives and mechanical influences</a:t>
            </a:r>
          </a:p>
        </p:txBody>
      </p:sp>
      <p:sp>
        <p:nvSpPr>
          <p:cNvPr id="37" name="TextBox 16">
            <a:extLst>
              <a:ext uri="{FF2B5EF4-FFF2-40B4-BE49-F238E27FC236}">
                <a16:creationId xmlns:a16="http://schemas.microsoft.com/office/drawing/2014/main" id="{28614BE8-DDD7-4596-A9CE-0784E831CD4A}"/>
              </a:ext>
            </a:extLst>
          </p:cNvPr>
          <p:cNvSpPr txBox="1"/>
          <p:nvPr/>
        </p:nvSpPr>
        <p:spPr>
          <a:xfrm>
            <a:off x="409766" y="3826637"/>
            <a:ext cx="3600000" cy="2323315"/>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lnSpc>
                <a:spcPct val="110000"/>
              </a:lnSpc>
              <a:spcAft>
                <a:spcPct val="0"/>
              </a:spcAft>
            </a:pPr>
            <a:r>
              <a:rPr lang="en-US" sz="1200"/>
              <a:t>Output of </a:t>
            </a:r>
            <a:r>
              <a:rPr lang="en-US" sz="1199" b="1">
                <a:solidFill>
                  <a:schemeClr val="accent1"/>
                </a:solidFill>
              </a:rPr>
              <a:t>CAD/CAM Environment</a:t>
            </a:r>
          </a:p>
          <a:p>
            <a:pPr marL="171450" indent="-171450" algn="l" rtl="0" fontAlgn="base">
              <a:lnSpc>
                <a:spcPct val="110000"/>
              </a:lnSpc>
              <a:spcAft>
                <a:spcPct val="0"/>
              </a:spcAft>
              <a:buFont typeface="Arial" panose="020B0604020202020204" pitchFamily="34" charset="0"/>
              <a:buChar char="•"/>
            </a:pPr>
            <a:r>
              <a:rPr lang="en-US" sz="1200"/>
              <a:t>Identify characteristic patterns that </a:t>
            </a:r>
            <a:r>
              <a:rPr lang="en-US" sz="1200" b="1"/>
              <a:t>could </a:t>
            </a:r>
            <a:r>
              <a:rPr lang="en-US" sz="1200"/>
              <a:t>lead to issues in one of the later process stages.</a:t>
            </a:r>
          </a:p>
          <a:p>
            <a:pPr marL="171450" indent="-171450" algn="l" rtl="0" fontAlgn="base">
              <a:lnSpc>
                <a:spcPct val="110000"/>
              </a:lnSpc>
              <a:spcAft>
                <a:spcPct val="0"/>
              </a:spcAft>
              <a:buFont typeface="Arial" panose="020B0604020202020204" pitchFamily="34" charset="0"/>
              <a:buChar char="•"/>
            </a:pPr>
            <a:r>
              <a:rPr lang="en-us" sz="1199" b="0" i="0" u="none" baseline="0">
                <a:latin typeface="Arial"/>
                <a:ea typeface="Arial Unicode MS" panose="020B0604020202020204" pitchFamily="34" charset="-128"/>
                <a:cs typeface="Arial Unicode MS" panose="020B0604020202020204" pitchFamily="34" charset="-128"/>
              </a:rPr>
              <a:t>Verify production-readiness of the data set.</a:t>
            </a:r>
          </a:p>
        </p:txBody>
      </p:sp>
      <p:sp>
        <p:nvSpPr>
          <p:cNvPr id="38" name="TextBox 17">
            <a:extLst>
              <a:ext uri="{FF2B5EF4-FFF2-40B4-BE49-F238E27FC236}">
                <a16:creationId xmlns:a16="http://schemas.microsoft.com/office/drawing/2014/main" id="{3D6471D5-576F-45C3-A9E8-F01FCA554F1A}"/>
              </a:ext>
            </a:extLst>
          </p:cNvPr>
          <p:cNvSpPr txBox="1"/>
          <p:nvPr/>
        </p:nvSpPr>
        <p:spPr>
          <a:xfrm>
            <a:off x="4297778" y="3826637"/>
            <a:ext cx="3600000" cy="2340801"/>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de-DE" sz="1199" b="0" i="0" u="none" baseline="0">
                <a:solidFill>
                  <a:schemeClr val="tx1"/>
                </a:solidFill>
              </a:rPr>
              <a:t>Output from </a:t>
            </a:r>
            <a:r>
              <a:rPr lang="de-DE" sz="1199" b="1">
                <a:solidFill>
                  <a:schemeClr val="accent1"/>
                </a:solidFill>
              </a:rPr>
              <a:t>Run MyVirtual Machine </a:t>
            </a:r>
          </a:p>
          <a:p>
            <a:pPr marL="171450" indent="-171450" algn="l" rtl="0">
              <a:buFont typeface="Arial" panose="020B0604020202020204" pitchFamily="34" charset="0"/>
              <a:buChar char="•"/>
            </a:pPr>
            <a:r>
              <a:rPr lang="de-DE" sz="1199" b="0" i="0" u="none" baseline="0">
                <a:solidFill>
                  <a:schemeClr val="tx1"/>
                </a:solidFill>
              </a:rPr>
              <a:t>Visualize the dynamic behavior of the NC (e.g. compressor)</a:t>
            </a:r>
          </a:p>
          <a:p>
            <a:pPr marL="171450" indent="-171450" algn="l" rtl="0">
              <a:buFont typeface="Arial" panose="020B0604020202020204" pitchFamily="34" charset="0"/>
              <a:buChar char="•"/>
            </a:pPr>
            <a:r>
              <a:rPr lang="de-DE" sz="1199"/>
              <a:t>Identify problematic motion characteristics and poor contour accuracy</a:t>
            </a:r>
            <a:endParaRPr lang="de-DE" sz="1199" b="0" i="0" u="none" baseline="0">
              <a:solidFill>
                <a:schemeClr val="tx1"/>
              </a:solidFill>
            </a:endParaRPr>
          </a:p>
        </p:txBody>
      </p:sp>
      <p:grpSp>
        <p:nvGrpSpPr>
          <p:cNvPr id="114693" name="Gruppieren 114692">
            <a:extLst>
              <a:ext uri="{FF2B5EF4-FFF2-40B4-BE49-F238E27FC236}">
                <a16:creationId xmlns:a16="http://schemas.microsoft.com/office/drawing/2014/main" id="{7A71AF47-83F7-E624-2CAB-59128004B3F3}"/>
              </a:ext>
            </a:extLst>
          </p:cNvPr>
          <p:cNvGrpSpPr/>
          <p:nvPr/>
        </p:nvGrpSpPr>
        <p:grpSpPr>
          <a:xfrm>
            <a:off x="425301" y="1423380"/>
            <a:ext cx="5851954" cy="1505135"/>
            <a:chOff x="541031" y="937846"/>
            <a:chExt cx="5851954" cy="1505135"/>
          </a:xfrm>
        </p:grpSpPr>
        <p:sp>
          <p:nvSpPr>
            <p:cNvPr id="114691" name="TextBox 16">
              <a:extLst>
                <a:ext uri="{FF2B5EF4-FFF2-40B4-BE49-F238E27FC236}">
                  <a16:creationId xmlns:a16="http://schemas.microsoft.com/office/drawing/2014/main" id="{FCBAF71C-139B-29F4-AC9F-7ABA628F88CC}"/>
                </a:ext>
              </a:extLst>
            </p:cNvPr>
            <p:cNvSpPr txBox="1"/>
            <p:nvPr/>
          </p:nvSpPr>
          <p:spPr>
            <a:xfrm>
              <a:off x="541031" y="937846"/>
              <a:ext cx="5851954" cy="1505135"/>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lnSpc>
                  <a:spcPct val="110000"/>
                </a:lnSpc>
                <a:spcAft>
                  <a:spcPct val="0"/>
                </a:spcAft>
              </a:pPr>
              <a:endParaRPr lang="en-us" sz="1199" b="0" i="0" u="none" baseline="0">
                <a:latin typeface="Arial"/>
                <a:ea typeface="Arial Unicode MS" panose="020B0604020202020204" pitchFamily="34" charset="-128"/>
                <a:cs typeface="Arial Unicode MS" panose="020B0604020202020204" pitchFamily="34" charset="-128"/>
              </a:endParaRPr>
            </a:p>
          </p:txBody>
        </p:sp>
        <p:sp>
          <p:nvSpPr>
            <p:cNvPr id="3" name="Rechteck 2">
              <a:extLst>
                <a:ext uri="{FF2B5EF4-FFF2-40B4-BE49-F238E27FC236}">
                  <a16:creationId xmlns:a16="http://schemas.microsoft.com/office/drawing/2014/main" id="{24DA84A4-8DDA-01D6-A07E-A1A00388AAC0}"/>
                </a:ext>
              </a:extLst>
            </p:cNvPr>
            <p:cNvSpPr/>
            <p:nvPr/>
          </p:nvSpPr>
          <p:spPr>
            <a:xfrm>
              <a:off x="697937" y="1318892"/>
              <a:ext cx="1433765" cy="3973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b="1"/>
                <a:t>CAD</a:t>
              </a:r>
            </a:p>
          </p:txBody>
        </p:sp>
        <p:sp>
          <p:nvSpPr>
            <p:cNvPr id="6" name="Rechteck 5">
              <a:extLst>
                <a:ext uri="{FF2B5EF4-FFF2-40B4-BE49-F238E27FC236}">
                  <a16:creationId xmlns:a16="http://schemas.microsoft.com/office/drawing/2014/main" id="{579B83C4-43E4-F747-C352-2BFEB78F8954}"/>
                </a:ext>
              </a:extLst>
            </p:cNvPr>
            <p:cNvSpPr/>
            <p:nvPr/>
          </p:nvSpPr>
          <p:spPr>
            <a:xfrm>
              <a:off x="2753536" y="1327782"/>
              <a:ext cx="1441664" cy="3800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b="1"/>
                <a:t>CAM</a:t>
              </a:r>
            </a:p>
          </p:txBody>
        </p:sp>
        <p:sp>
          <p:nvSpPr>
            <p:cNvPr id="9" name="Rechteck 8">
              <a:extLst>
                <a:ext uri="{FF2B5EF4-FFF2-40B4-BE49-F238E27FC236}">
                  <a16:creationId xmlns:a16="http://schemas.microsoft.com/office/drawing/2014/main" id="{FE3C612E-EB2E-49BC-7906-3095A730A8A4}"/>
                </a:ext>
              </a:extLst>
            </p:cNvPr>
            <p:cNvSpPr/>
            <p:nvPr/>
          </p:nvSpPr>
          <p:spPr>
            <a:xfrm>
              <a:off x="4873591" y="1320977"/>
              <a:ext cx="1405912" cy="3892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en-US" sz="1600" b="1"/>
                <a:t>POST</a:t>
              </a:r>
            </a:p>
          </p:txBody>
        </p:sp>
        <p:sp>
          <p:nvSpPr>
            <p:cNvPr id="13" name="Rechteck 28">
              <a:extLst>
                <a:ext uri="{FF2B5EF4-FFF2-40B4-BE49-F238E27FC236}">
                  <a16:creationId xmlns:a16="http://schemas.microsoft.com/office/drawing/2014/main" id="{E3C3D6B5-1F8E-4FB3-71BB-99544FA20664}"/>
                </a:ext>
              </a:extLst>
            </p:cNvPr>
            <p:cNvSpPr/>
            <p:nvPr/>
          </p:nvSpPr>
          <p:spPr>
            <a:xfrm>
              <a:off x="732026" y="1857843"/>
              <a:ext cx="1418148" cy="399057"/>
            </a:xfrm>
            <a:custGeom>
              <a:avLst/>
              <a:gdLst>
                <a:gd name="connsiteX0" fmla="*/ 0 w 2159999"/>
                <a:gd name="connsiteY0" fmla="*/ 0 h 809625"/>
                <a:gd name="connsiteX1" fmla="*/ 2159999 w 2159999"/>
                <a:gd name="connsiteY1" fmla="*/ 0 h 809625"/>
                <a:gd name="connsiteX2" fmla="*/ 2159999 w 2159999"/>
                <a:gd name="connsiteY2" fmla="*/ 809625 h 809625"/>
                <a:gd name="connsiteX3" fmla="*/ 0 w 2159999"/>
                <a:gd name="connsiteY3" fmla="*/ 809625 h 809625"/>
                <a:gd name="connsiteX4" fmla="*/ 0 w 2159999"/>
                <a:gd name="connsiteY4" fmla="*/ 0 h 809625"/>
                <a:gd name="connsiteX0" fmla="*/ 0 w 2159999"/>
                <a:gd name="connsiteY0" fmla="*/ 19050 h 828675"/>
                <a:gd name="connsiteX1" fmla="*/ 1046925 w 2159999"/>
                <a:gd name="connsiteY1" fmla="*/ 0 h 828675"/>
                <a:gd name="connsiteX2" fmla="*/ 2159999 w 2159999"/>
                <a:gd name="connsiteY2" fmla="*/ 19050 h 828675"/>
                <a:gd name="connsiteX3" fmla="*/ 2159999 w 2159999"/>
                <a:gd name="connsiteY3" fmla="*/ 828675 h 828675"/>
                <a:gd name="connsiteX4" fmla="*/ 0 w 2159999"/>
                <a:gd name="connsiteY4" fmla="*/ 828675 h 828675"/>
                <a:gd name="connsiteX5" fmla="*/ 0 w 2159999"/>
                <a:gd name="connsiteY5" fmla="*/ 19050 h 82867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11676 h 821301"/>
                <a:gd name="connsiteX1" fmla="*/ 923100 w 2159999"/>
                <a:gd name="connsiteY1" fmla="*/ 78351 h 821301"/>
                <a:gd name="connsiteX2" fmla="*/ 2159999 w 2159999"/>
                <a:gd name="connsiteY2" fmla="*/ 11676 h 821301"/>
                <a:gd name="connsiteX3" fmla="*/ 2159999 w 2159999"/>
                <a:gd name="connsiteY3" fmla="*/ 821301 h 821301"/>
                <a:gd name="connsiteX4" fmla="*/ 0 w 2159999"/>
                <a:gd name="connsiteY4" fmla="*/ 821301 h 821301"/>
                <a:gd name="connsiteX5" fmla="*/ 0 w 2159999"/>
                <a:gd name="connsiteY5" fmla="*/ 11676 h 821301"/>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0 w 2159999"/>
                <a:gd name="connsiteY4" fmla="*/ 815407 h 815407"/>
                <a:gd name="connsiteX5" fmla="*/ 0 w 2159999"/>
                <a:gd name="connsiteY5" fmla="*/ 5782 h 815407"/>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0 w 2159999"/>
                <a:gd name="connsiteY4" fmla="*/ 815407 h 815407"/>
                <a:gd name="connsiteX5" fmla="*/ 0 w 2159999"/>
                <a:gd name="connsiteY5" fmla="*/ 5782 h 815407"/>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19050 w 2159999"/>
                <a:gd name="connsiteY4" fmla="*/ 489238 h 815407"/>
                <a:gd name="connsiteX5" fmla="*/ 0 w 2159999"/>
                <a:gd name="connsiteY5" fmla="*/ 5782 h 815407"/>
                <a:gd name="connsiteX0" fmla="*/ 0 w 2159999"/>
                <a:gd name="connsiteY0" fmla="*/ 5782 h 520302"/>
                <a:gd name="connsiteX1" fmla="*/ 932625 w 2159999"/>
                <a:gd name="connsiteY1" fmla="*/ 81982 h 520302"/>
                <a:gd name="connsiteX2" fmla="*/ 2159999 w 2159999"/>
                <a:gd name="connsiteY2" fmla="*/ 5782 h 520302"/>
                <a:gd name="connsiteX3" fmla="*/ 2159999 w 2159999"/>
                <a:gd name="connsiteY3" fmla="*/ 520302 h 520302"/>
                <a:gd name="connsiteX4" fmla="*/ 19050 w 2159999"/>
                <a:gd name="connsiteY4" fmla="*/ 489238 h 520302"/>
                <a:gd name="connsiteX5" fmla="*/ 0 w 2159999"/>
                <a:gd name="connsiteY5" fmla="*/ 5782 h 520302"/>
                <a:gd name="connsiteX0" fmla="*/ 0 w 2179049"/>
                <a:gd name="connsiteY0" fmla="*/ 5782 h 489238"/>
                <a:gd name="connsiteX1" fmla="*/ 932625 w 2179049"/>
                <a:gd name="connsiteY1" fmla="*/ 81982 h 489238"/>
                <a:gd name="connsiteX2" fmla="*/ 2159999 w 2179049"/>
                <a:gd name="connsiteY2" fmla="*/ 5782 h 489238"/>
                <a:gd name="connsiteX3" fmla="*/ 2179049 w 2179049"/>
                <a:gd name="connsiteY3" fmla="*/ 465941 h 489238"/>
                <a:gd name="connsiteX4" fmla="*/ 19050 w 2179049"/>
                <a:gd name="connsiteY4" fmla="*/ 489238 h 489238"/>
                <a:gd name="connsiteX5" fmla="*/ 0 w 2179049"/>
                <a:gd name="connsiteY5" fmla="*/ 5782 h 489238"/>
                <a:gd name="connsiteX0" fmla="*/ 0 w 2159999"/>
                <a:gd name="connsiteY0" fmla="*/ 5782 h 504771"/>
                <a:gd name="connsiteX1" fmla="*/ 932625 w 2159999"/>
                <a:gd name="connsiteY1" fmla="*/ 81982 h 504771"/>
                <a:gd name="connsiteX2" fmla="*/ 2159999 w 2159999"/>
                <a:gd name="connsiteY2" fmla="*/ 5782 h 504771"/>
                <a:gd name="connsiteX3" fmla="*/ 2150474 w 2159999"/>
                <a:gd name="connsiteY3" fmla="*/ 504771 h 504771"/>
                <a:gd name="connsiteX4" fmla="*/ 19050 w 2159999"/>
                <a:gd name="connsiteY4" fmla="*/ 489238 h 504771"/>
                <a:gd name="connsiteX5" fmla="*/ 0 w 2159999"/>
                <a:gd name="connsiteY5" fmla="*/ 5782 h 504771"/>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9999" h="579009">
                  <a:moveTo>
                    <a:pt x="0" y="80020"/>
                  </a:moveTo>
                  <a:cubicBezTo>
                    <a:pt x="358500" y="118120"/>
                    <a:pt x="450300" y="-97137"/>
                    <a:pt x="923100" y="55263"/>
                  </a:cubicBezTo>
                  <a:cubicBezTo>
                    <a:pt x="2084700" y="907625"/>
                    <a:pt x="1798499" y="118120"/>
                    <a:pt x="2159999" y="80020"/>
                  </a:cubicBezTo>
                  <a:lnTo>
                    <a:pt x="2150474" y="579009"/>
                  </a:lnTo>
                  <a:lnTo>
                    <a:pt x="19050" y="563476"/>
                  </a:lnTo>
                  <a:lnTo>
                    <a:pt x="0" y="80020"/>
                  </a:lnTo>
                  <a:close/>
                </a:path>
              </a:pathLst>
            </a:custGeom>
            <a:pattFill prst="ltUpDiag">
              <a:fgClr>
                <a:schemeClr val="tx1"/>
              </a:fgClr>
              <a:bgClr>
                <a:schemeClr val="bg1"/>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14" name="Gruppieren 13">
              <a:extLst>
                <a:ext uri="{FF2B5EF4-FFF2-40B4-BE49-F238E27FC236}">
                  <a16:creationId xmlns:a16="http://schemas.microsoft.com/office/drawing/2014/main" id="{DC56C03A-F96A-F320-EF31-98FBA5C8C88D}"/>
                </a:ext>
              </a:extLst>
            </p:cNvPr>
            <p:cNvGrpSpPr/>
            <p:nvPr/>
          </p:nvGrpSpPr>
          <p:grpSpPr>
            <a:xfrm>
              <a:off x="2772256" y="1886582"/>
              <a:ext cx="1433102" cy="399057"/>
              <a:chOff x="3392374" y="2998788"/>
              <a:chExt cx="2159999" cy="617139"/>
            </a:xfrm>
          </p:grpSpPr>
          <p:sp>
            <p:nvSpPr>
              <p:cNvPr id="15" name="Rechteck 28">
                <a:extLst>
                  <a:ext uri="{FF2B5EF4-FFF2-40B4-BE49-F238E27FC236}">
                    <a16:creationId xmlns:a16="http://schemas.microsoft.com/office/drawing/2014/main" id="{6B9DA2DD-1400-089B-E949-B59888032529}"/>
                  </a:ext>
                </a:extLst>
              </p:cNvPr>
              <p:cNvSpPr/>
              <p:nvPr/>
            </p:nvSpPr>
            <p:spPr>
              <a:xfrm>
                <a:off x="3392374" y="3064633"/>
                <a:ext cx="2159999" cy="551294"/>
              </a:xfrm>
              <a:custGeom>
                <a:avLst/>
                <a:gdLst>
                  <a:gd name="connsiteX0" fmla="*/ 0 w 2159999"/>
                  <a:gd name="connsiteY0" fmla="*/ 0 h 809625"/>
                  <a:gd name="connsiteX1" fmla="*/ 2159999 w 2159999"/>
                  <a:gd name="connsiteY1" fmla="*/ 0 h 809625"/>
                  <a:gd name="connsiteX2" fmla="*/ 2159999 w 2159999"/>
                  <a:gd name="connsiteY2" fmla="*/ 809625 h 809625"/>
                  <a:gd name="connsiteX3" fmla="*/ 0 w 2159999"/>
                  <a:gd name="connsiteY3" fmla="*/ 809625 h 809625"/>
                  <a:gd name="connsiteX4" fmla="*/ 0 w 2159999"/>
                  <a:gd name="connsiteY4" fmla="*/ 0 h 809625"/>
                  <a:gd name="connsiteX0" fmla="*/ 0 w 2159999"/>
                  <a:gd name="connsiteY0" fmla="*/ 19050 h 828675"/>
                  <a:gd name="connsiteX1" fmla="*/ 1046925 w 2159999"/>
                  <a:gd name="connsiteY1" fmla="*/ 0 h 828675"/>
                  <a:gd name="connsiteX2" fmla="*/ 2159999 w 2159999"/>
                  <a:gd name="connsiteY2" fmla="*/ 19050 h 828675"/>
                  <a:gd name="connsiteX3" fmla="*/ 2159999 w 2159999"/>
                  <a:gd name="connsiteY3" fmla="*/ 828675 h 828675"/>
                  <a:gd name="connsiteX4" fmla="*/ 0 w 2159999"/>
                  <a:gd name="connsiteY4" fmla="*/ 828675 h 828675"/>
                  <a:gd name="connsiteX5" fmla="*/ 0 w 2159999"/>
                  <a:gd name="connsiteY5" fmla="*/ 19050 h 82867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11676 h 821301"/>
                  <a:gd name="connsiteX1" fmla="*/ 923100 w 2159999"/>
                  <a:gd name="connsiteY1" fmla="*/ 78351 h 821301"/>
                  <a:gd name="connsiteX2" fmla="*/ 2159999 w 2159999"/>
                  <a:gd name="connsiteY2" fmla="*/ 11676 h 821301"/>
                  <a:gd name="connsiteX3" fmla="*/ 2159999 w 2159999"/>
                  <a:gd name="connsiteY3" fmla="*/ 821301 h 821301"/>
                  <a:gd name="connsiteX4" fmla="*/ 0 w 2159999"/>
                  <a:gd name="connsiteY4" fmla="*/ 821301 h 821301"/>
                  <a:gd name="connsiteX5" fmla="*/ 0 w 2159999"/>
                  <a:gd name="connsiteY5" fmla="*/ 11676 h 821301"/>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0 w 2159999"/>
                  <a:gd name="connsiteY4" fmla="*/ 815407 h 815407"/>
                  <a:gd name="connsiteX5" fmla="*/ 0 w 2159999"/>
                  <a:gd name="connsiteY5" fmla="*/ 5782 h 815407"/>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0 w 2159999"/>
                  <a:gd name="connsiteY4" fmla="*/ 815407 h 815407"/>
                  <a:gd name="connsiteX5" fmla="*/ 0 w 2159999"/>
                  <a:gd name="connsiteY5" fmla="*/ 5782 h 815407"/>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19050 w 2159999"/>
                  <a:gd name="connsiteY4" fmla="*/ 489238 h 815407"/>
                  <a:gd name="connsiteX5" fmla="*/ 0 w 2159999"/>
                  <a:gd name="connsiteY5" fmla="*/ 5782 h 815407"/>
                  <a:gd name="connsiteX0" fmla="*/ 0 w 2159999"/>
                  <a:gd name="connsiteY0" fmla="*/ 5782 h 520302"/>
                  <a:gd name="connsiteX1" fmla="*/ 932625 w 2159999"/>
                  <a:gd name="connsiteY1" fmla="*/ 81982 h 520302"/>
                  <a:gd name="connsiteX2" fmla="*/ 2159999 w 2159999"/>
                  <a:gd name="connsiteY2" fmla="*/ 5782 h 520302"/>
                  <a:gd name="connsiteX3" fmla="*/ 2159999 w 2159999"/>
                  <a:gd name="connsiteY3" fmla="*/ 520302 h 520302"/>
                  <a:gd name="connsiteX4" fmla="*/ 19050 w 2159999"/>
                  <a:gd name="connsiteY4" fmla="*/ 489238 h 520302"/>
                  <a:gd name="connsiteX5" fmla="*/ 0 w 2159999"/>
                  <a:gd name="connsiteY5" fmla="*/ 5782 h 520302"/>
                  <a:gd name="connsiteX0" fmla="*/ 0 w 2179049"/>
                  <a:gd name="connsiteY0" fmla="*/ 5782 h 489238"/>
                  <a:gd name="connsiteX1" fmla="*/ 932625 w 2179049"/>
                  <a:gd name="connsiteY1" fmla="*/ 81982 h 489238"/>
                  <a:gd name="connsiteX2" fmla="*/ 2159999 w 2179049"/>
                  <a:gd name="connsiteY2" fmla="*/ 5782 h 489238"/>
                  <a:gd name="connsiteX3" fmla="*/ 2179049 w 2179049"/>
                  <a:gd name="connsiteY3" fmla="*/ 465941 h 489238"/>
                  <a:gd name="connsiteX4" fmla="*/ 19050 w 2179049"/>
                  <a:gd name="connsiteY4" fmla="*/ 489238 h 489238"/>
                  <a:gd name="connsiteX5" fmla="*/ 0 w 2179049"/>
                  <a:gd name="connsiteY5" fmla="*/ 5782 h 489238"/>
                  <a:gd name="connsiteX0" fmla="*/ 0 w 2159999"/>
                  <a:gd name="connsiteY0" fmla="*/ 5782 h 504771"/>
                  <a:gd name="connsiteX1" fmla="*/ 932625 w 2159999"/>
                  <a:gd name="connsiteY1" fmla="*/ 81982 h 504771"/>
                  <a:gd name="connsiteX2" fmla="*/ 2159999 w 2159999"/>
                  <a:gd name="connsiteY2" fmla="*/ 5782 h 504771"/>
                  <a:gd name="connsiteX3" fmla="*/ 2150474 w 2159999"/>
                  <a:gd name="connsiteY3" fmla="*/ 504771 h 504771"/>
                  <a:gd name="connsiteX4" fmla="*/ 19050 w 2159999"/>
                  <a:gd name="connsiteY4" fmla="*/ 489238 h 504771"/>
                  <a:gd name="connsiteX5" fmla="*/ 0 w 2159999"/>
                  <a:gd name="connsiteY5" fmla="*/ 5782 h 504771"/>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0 w 2159999"/>
                  <a:gd name="connsiteY4" fmla="*/ 80020 h 579009"/>
                  <a:gd name="connsiteX0" fmla="*/ 2150474 w 2241914"/>
                  <a:gd name="connsiteY0" fmla="*/ 579009 h 653562"/>
                  <a:gd name="connsiteX1" fmla="*/ 0 w 2241914"/>
                  <a:gd name="connsiteY1" fmla="*/ 80020 h 653562"/>
                  <a:gd name="connsiteX2" fmla="*/ 923100 w 2241914"/>
                  <a:gd name="connsiteY2" fmla="*/ 55263 h 653562"/>
                  <a:gd name="connsiteX3" fmla="*/ 2159999 w 2241914"/>
                  <a:gd name="connsiteY3" fmla="*/ 80020 h 653562"/>
                  <a:gd name="connsiteX4" fmla="*/ 2241914 w 2241914"/>
                  <a:gd name="connsiteY4" fmla="*/ 653562 h 653562"/>
                  <a:gd name="connsiteX0" fmla="*/ 2150474 w 2159999"/>
                  <a:gd name="connsiteY0" fmla="*/ 579009 h 579009"/>
                  <a:gd name="connsiteX1" fmla="*/ 0 w 2159999"/>
                  <a:gd name="connsiteY1" fmla="*/ 80020 h 579009"/>
                  <a:gd name="connsiteX2" fmla="*/ 923100 w 2159999"/>
                  <a:gd name="connsiteY2" fmla="*/ 55263 h 579009"/>
                  <a:gd name="connsiteX3" fmla="*/ 2159999 w 2159999"/>
                  <a:gd name="connsiteY3" fmla="*/ 80020 h 579009"/>
                  <a:gd name="connsiteX0" fmla="*/ 0 w 2159999"/>
                  <a:gd name="connsiteY0" fmla="*/ 80020 h 449481"/>
                  <a:gd name="connsiteX1" fmla="*/ 923100 w 2159999"/>
                  <a:gd name="connsiteY1" fmla="*/ 55263 h 449481"/>
                  <a:gd name="connsiteX2" fmla="*/ 2159999 w 2159999"/>
                  <a:gd name="connsiteY2" fmla="*/ 80020 h 449481"/>
                </a:gdLst>
                <a:ahLst/>
                <a:cxnLst>
                  <a:cxn ang="0">
                    <a:pos x="connsiteX0" y="connsiteY0"/>
                  </a:cxn>
                  <a:cxn ang="0">
                    <a:pos x="connsiteX1" y="connsiteY1"/>
                  </a:cxn>
                  <a:cxn ang="0">
                    <a:pos x="connsiteX2" y="connsiteY2"/>
                  </a:cxn>
                </a:cxnLst>
                <a:rect l="l" t="t" r="r" b="b"/>
                <a:pathLst>
                  <a:path w="2159999" h="449481">
                    <a:moveTo>
                      <a:pt x="0" y="80020"/>
                    </a:moveTo>
                    <a:cubicBezTo>
                      <a:pt x="358500" y="118120"/>
                      <a:pt x="450300" y="-97137"/>
                      <a:pt x="923100" y="55263"/>
                    </a:cubicBezTo>
                    <a:cubicBezTo>
                      <a:pt x="2084700" y="907625"/>
                      <a:pt x="1798499" y="118120"/>
                      <a:pt x="2159999" y="80020"/>
                    </a:cubicBezTo>
                  </a:path>
                </a:pathLst>
              </a:custGeom>
              <a:noFill/>
              <a:ln>
                <a:solidFill>
                  <a:srgbClr val="00999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16" name="Gerade Verbindung mit Pfeil 15">
                <a:extLst>
                  <a:ext uri="{FF2B5EF4-FFF2-40B4-BE49-F238E27FC236}">
                    <a16:creationId xmlns:a16="http://schemas.microsoft.com/office/drawing/2014/main" id="{7AAC1BE5-556C-C2F6-48E6-847C62AD191A}"/>
                  </a:ext>
                </a:extLst>
              </p:cNvPr>
              <p:cNvCxnSpPr/>
              <p:nvPr/>
            </p:nvCxnSpPr>
            <p:spPr>
              <a:xfrm flipV="1">
                <a:off x="4511165" y="2998788"/>
                <a:ext cx="242502" cy="287767"/>
              </a:xfrm>
              <a:prstGeom prst="straightConnector1">
                <a:avLst/>
              </a:prstGeom>
              <a:ln w="9525">
                <a:solidFill>
                  <a:schemeClr val="accent1"/>
                </a:solidFill>
                <a:headEnd type="none" w="lg" len="lg"/>
                <a:tailEnd type="triangle"/>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60E39A9B-E89D-08FD-710E-E304AD04143B}"/>
                </a:ext>
              </a:extLst>
            </p:cNvPr>
            <p:cNvGrpSpPr/>
            <p:nvPr/>
          </p:nvGrpSpPr>
          <p:grpSpPr>
            <a:xfrm>
              <a:off x="4932001" y="1920654"/>
              <a:ext cx="1196015" cy="373988"/>
              <a:chOff x="6370883" y="3089956"/>
              <a:chExt cx="2159999" cy="551294"/>
            </a:xfrm>
          </p:grpSpPr>
          <p:sp>
            <p:nvSpPr>
              <p:cNvPr id="18" name="Rechteck 28">
                <a:extLst>
                  <a:ext uri="{FF2B5EF4-FFF2-40B4-BE49-F238E27FC236}">
                    <a16:creationId xmlns:a16="http://schemas.microsoft.com/office/drawing/2014/main" id="{15A15E16-8255-9598-8281-765D8CB46140}"/>
                  </a:ext>
                </a:extLst>
              </p:cNvPr>
              <p:cNvSpPr/>
              <p:nvPr/>
            </p:nvSpPr>
            <p:spPr>
              <a:xfrm>
                <a:off x="6370883" y="3089956"/>
                <a:ext cx="2159999" cy="551294"/>
              </a:xfrm>
              <a:custGeom>
                <a:avLst/>
                <a:gdLst>
                  <a:gd name="connsiteX0" fmla="*/ 0 w 2159999"/>
                  <a:gd name="connsiteY0" fmla="*/ 0 h 809625"/>
                  <a:gd name="connsiteX1" fmla="*/ 2159999 w 2159999"/>
                  <a:gd name="connsiteY1" fmla="*/ 0 h 809625"/>
                  <a:gd name="connsiteX2" fmla="*/ 2159999 w 2159999"/>
                  <a:gd name="connsiteY2" fmla="*/ 809625 h 809625"/>
                  <a:gd name="connsiteX3" fmla="*/ 0 w 2159999"/>
                  <a:gd name="connsiteY3" fmla="*/ 809625 h 809625"/>
                  <a:gd name="connsiteX4" fmla="*/ 0 w 2159999"/>
                  <a:gd name="connsiteY4" fmla="*/ 0 h 809625"/>
                  <a:gd name="connsiteX0" fmla="*/ 0 w 2159999"/>
                  <a:gd name="connsiteY0" fmla="*/ 19050 h 828675"/>
                  <a:gd name="connsiteX1" fmla="*/ 1046925 w 2159999"/>
                  <a:gd name="connsiteY1" fmla="*/ 0 h 828675"/>
                  <a:gd name="connsiteX2" fmla="*/ 2159999 w 2159999"/>
                  <a:gd name="connsiteY2" fmla="*/ 19050 h 828675"/>
                  <a:gd name="connsiteX3" fmla="*/ 2159999 w 2159999"/>
                  <a:gd name="connsiteY3" fmla="*/ 828675 h 828675"/>
                  <a:gd name="connsiteX4" fmla="*/ 0 w 2159999"/>
                  <a:gd name="connsiteY4" fmla="*/ 828675 h 828675"/>
                  <a:gd name="connsiteX5" fmla="*/ 0 w 2159999"/>
                  <a:gd name="connsiteY5" fmla="*/ 19050 h 82867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0 h 809625"/>
                  <a:gd name="connsiteX1" fmla="*/ 1075500 w 2159999"/>
                  <a:gd name="connsiteY1" fmla="*/ 114300 h 809625"/>
                  <a:gd name="connsiteX2" fmla="*/ 2159999 w 2159999"/>
                  <a:gd name="connsiteY2" fmla="*/ 0 h 809625"/>
                  <a:gd name="connsiteX3" fmla="*/ 2159999 w 2159999"/>
                  <a:gd name="connsiteY3" fmla="*/ 809625 h 809625"/>
                  <a:gd name="connsiteX4" fmla="*/ 0 w 2159999"/>
                  <a:gd name="connsiteY4" fmla="*/ 809625 h 809625"/>
                  <a:gd name="connsiteX5" fmla="*/ 0 w 2159999"/>
                  <a:gd name="connsiteY5" fmla="*/ 0 h 809625"/>
                  <a:gd name="connsiteX0" fmla="*/ 0 w 2159999"/>
                  <a:gd name="connsiteY0" fmla="*/ 11676 h 821301"/>
                  <a:gd name="connsiteX1" fmla="*/ 923100 w 2159999"/>
                  <a:gd name="connsiteY1" fmla="*/ 78351 h 821301"/>
                  <a:gd name="connsiteX2" fmla="*/ 2159999 w 2159999"/>
                  <a:gd name="connsiteY2" fmla="*/ 11676 h 821301"/>
                  <a:gd name="connsiteX3" fmla="*/ 2159999 w 2159999"/>
                  <a:gd name="connsiteY3" fmla="*/ 821301 h 821301"/>
                  <a:gd name="connsiteX4" fmla="*/ 0 w 2159999"/>
                  <a:gd name="connsiteY4" fmla="*/ 821301 h 821301"/>
                  <a:gd name="connsiteX5" fmla="*/ 0 w 2159999"/>
                  <a:gd name="connsiteY5" fmla="*/ 11676 h 821301"/>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0 w 2159999"/>
                  <a:gd name="connsiteY4" fmla="*/ 815407 h 815407"/>
                  <a:gd name="connsiteX5" fmla="*/ 0 w 2159999"/>
                  <a:gd name="connsiteY5" fmla="*/ 5782 h 815407"/>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0 w 2159999"/>
                  <a:gd name="connsiteY4" fmla="*/ 815407 h 815407"/>
                  <a:gd name="connsiteX5" fmla="*/ 0 w 2159999"/>
                  <a:gd name="connsiteY5" fmla="*/ 5782 h 815407"/>
                  <a:gd name="connsiteX0" fmla="*/ 0 w 2159999"/>
                  <a:gd name="connsiteY0" fmla="*/ 5782 h 815407"/>
                  <a:gd name="connsiteX1" fmla="*/ 932625 w 2159999"/>
                  <a:gd name="connsiteY1" fmla="*/ 81982 h 815407"/>
                  <a:gd name="connsiteX2" fmla="*/ 2159999 w 2159999"/>
                  <a:gd name="connsiteY2" fmla="*/ 5782 h 815407"/>
                  <a:gd name="connsiteX3" fmla="*/ 2159999 w 2159999"/>
                  <a:gd name="connsiteY3" fmla="*/ 815407 h 815407"/>
                  <a:gd name="connsiteX4" fmla="*/ 19050 w 2159999"/>
                  <a:gd name="connsiteY4" fmla="*/ 489238 h 815407"/>
                  <a:gd name="connsiteX5" fmla="*/ 0 w 2159999"/>
                  <a:gd name="connsiteY5" fmla="*/ 5782 h 815407"/>
                  <a:gd name="connsiteX0" fmla="*/ 0 w 2159999"/>
                  <a:gd name="connsiteY0" fmla="*/ 5782 h 520302"/>
                  <a:gd name="connsiteX1" fmla="*/ 932625 w 2159999"/>
                  <a:gd name="connsiteY1" fmla="*/ 81982 h 520302"/>
                  <a:gd name="connsiteX2" fmla="*/ 2159999 w 2159999"/>
                  <a:gd name="connsiteY2" fmla="*/ 5782 h 520302"/>
                  <a:gd name="connsiteX3" fmla="*/ 2159999 w 2159999"/>
                  <a:gd name="connsiteY3" fmla="*/ 520302 h 520302"/>
                  <a:gd name="connsiteX4" fmla="*/ 19050 w 2159999"/>
                  <a:gd name="connsiteY4" fmla="*/ 489238 h 520302"/>
                  <a:gd name="connsiteX5" fmla="*/ 0 w 2159999"/>
                  <a:gd name="connsiteY5" fmla="*/ 5782 h 520302"/>
                  <a:gd name="connsiteX0" fmla="*/ 0 w 2179049"/>
                  <a:gd name="connsiteY0" fmla="*/ 5782 h 489238"/>
                  <a:gd name="connsiteX1" fmla="*/ 932625 w 2179049"/>
                  <a:gd name="connsiteY1" fmla="*/ 81982 h 489238"/>
                  <a:gd name="connsiteX2" fmla="*/ 2159999 w 2179049"/>
                  <a:gd name="connsiteY2" fmla="*/ 5782 h 489238"/>
                  <a:gd name="connsiteX3" fmla="*/ 2179049 w 2179049"/>
                  <a:gd name="connsiteY3" fmla="*/ 465941 h 489238"/>
                  <a:gd name="connsiteX4" fmla="*/ 19050 w 2179049"/>
                  <a:gd name="connsiteY4" fmla="*/ 489238 h 489238"/>
                  <a:gd name="connsiteX5" fmla="*/ 0 w 2179049"/>
                  <a:gd name="connsiteY5" fmla="*/ 5782 h 489238"/>
                  <a:gd name="connsiteX0" fmla="*/ 0 w 2159999"/>
                  <a:gd name="connsiteY0" fmla="*/ 5782 h 504771"/>
                  <a:gd name="connsiteX1" fmla="*/ 932625 w 2159999"/>
                  <a:gd name="connsiteY1" fmla="*/ 81982 h 504771"/>
                  <a:gd name="connsiteX2" fmla="*/ 2159999 w 2159999"/>
                  <a:gd name="connsiteY2" fmla="*/ 5782 h 504771"/>
                  <a:gd name="connsiteX3" fmla="*/ 2150474 w 2159999"/>
                  <a:gd name="connsiteY3" fmla="*/ 504771 h 504771"/>
                  <a:gd name="connsiteX4" fmla="*/ 19050 w 2159999"/>
                  <a:gd name="connsiteY4" fmla="*/ 489238 h 504771"/>
                  <a:gd name="connsiteX5" fmla="*/ 0 w 2159999"/>
                  <a:gd name="connsiteY5" fmla="*/ 5782 h 504771"/>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19050 w 2159999"/>
                  <a:gd name="connsiteY4" fmla="*/ 563476 h 579009"/>
                  <a:gd name="connsiteX5" fmla="*/ 0 w 2159999"/>
                  <a:gd name="connsiteY5" fmla="*/ 80020 h 579009"/>
                  <a:gd name="connsiteX0" fmla="*/ 0 w 2159999"/>
                  <a:gd name="connsiteY0" fmla="*/ 80020 h 579009"/>
                  <a:gd name="connsiteX1" fmla="*/ 923100 w 2159999"/>
                  <a:gd name="connsiteY1" fmla="*/ 55263 h 579009"/>
                  <a:gd name="connsiteX2" fmla="*/ 2159999 w 2159999"/>
                  <a:gd name="connsiteY2" fmla="*/ 80020 h 579009"/>
                  <a:gd name="connsiteX3" fmla="*/ 2150474 w 2159999"/>
                  <a:gd name="connsiteY3" fmla="*/ 579009 h 579009"/>
                  <a:gd name="connsiteX4" fmla="*/ 0 w 2159999"/>
                  <a:gd name="connsiteY4" fmla="*/ 80020 h 579009"/>
                  <a:gd name="connsiteX0" fmla="*/ 2150474 w 2241914"/>
                  <a:gd name="connsiteY0" fmla="*/ 579009 h 653562"/>
                  <a:gd name="connsiteX1" fmla="*/ 0 w 2241914"/>
                  <a:gd name="connsiteY1" fmla="*/ 80020 h 653562"/>
                  <a:gd name="connsiteX2" fmla="*/ 923100 w 2241914"/>
                  <a:gd name="connsiteY2" fmla="*/ 55263 h 653562"/>
                  <a:gd name="connsiteX3" fmla="*/ 2159999 w 2241914"/>
                  <a:gd name="connsiteY3" fmla="*/ 80020 h 653562"/>
                  <a:gd name="connsiteX4" fmla="*/ 2241914 w 2241914"/>
                  <a:gd name="connsiteY4" fmla="*/ 653562 h 653562"/>
                  <a:gd name="connsiteX0" fmla="*/ 2150474 w 2159999"/>
                  <a:gd name="connsiteY0" fmla="*/ 579009 h 579009"/>
                  <a:gd name="connsiteX1" fmla="*/ 0 w 2159999"/>
                  <a:gd name="connsiteY1" fmla="*/ 80020 h 579009"/>
                  <a:gd name="connsiteX2" fmla="*/ 923100 w 2159999"/>
                  <a:gd name="connsiteY2" fmla="*/ 55263 h 579009"/>
                  <a:gd name="connsiteX3" fmla="*/ 2159999 w 2159999"/>
                  <a:gd name="connsiteY3" fmla="*/ 80020 h 579009"/>
                  <a:gd name="connsiteX0" fmla="*/ 0 w 2159999"/>
                  <a:gd name="connsiteY0" fmla="*/ 80020 h 449481"/>
                  <a:gd name="connsiteX1" fmla="*/ 923100 w 2159999"/>
                  <a:gd name="connsiteY1" fmla="*/ 55263 h 449481"/>
                  <a:gd name="connsiteX2" fmla="*/ 2159999 w 2159999"/>
                  <a:gd name="connsiteY2" fmla="*/ 80020 h 449481"/>
                </a:gdLst>
                <a:ahLst/>
                <a:cxnLst>
                  <a:cxn ang="0">
                    <a:pos x="connsiteX0" y="connsiteY0"/>
                  </a:cxn>
                  <a:cxn ang="0">
                    <a:pos x="connsiteX1" y="connsiteY1"/>
                  </a:cxn>
                  <a:cxn ang="0">
                    <a:pos x="connsiteX2" y="connsiteY2"/>
                  </a:cxn>
                </a:cxnLst>
                <a:rect l="l" t="t" r="r" b="b"/>
                <a:pathLst>
                  <a:path w="2159999" h="449481">
                    <a:moveTo>
                      <a:pt x="0" y="80020"/>
                    </a:moveTo>
                    <a:cubicBezTo>
                      <a:pt x="358500" y="118120"/>
                      <a:pt x="450300" y="-97137"/>
                      <a:pt x="923100" y="55263"/>
                    </a:cubicBezTo>
                    <a:cubicBezTo>
                      <a:pt x="2084700" y="907625"/>
                      <a:pt x="1798499" y="118120"/>
                      <a:pt x="2159999" y="80020"/>
                    </a:cubicBezTo>
                  </a:path>
                </a:pathLst>
              </a:custGeom>
              <a:no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cxnSp>
            <p:nvCxnSpPr>
              <p:cNvPr id="19" name="Gerader Verbinder 18">
                <a:extLst>
                  <a:ext uri="{FF2B5EF4-FFF2-40B4-BE49-F238E27FC236}">
                    <a16:creationId xmlns:a16="http://schemas.microsoft.com/office/drawing/2014/main" id="{E7B9C8E3-F892-C8F9-5360-0B10A1649A66}"/>
                  </a:ext>
                </a:extLst>
              </p:cNvPr>
              <p:cNvCxnSpPr>
                <a:cxnSpLocks/>
              </p:cNvCxnSpPr>
              <p:nvPr/>
            </p:nvCxnSpPr>
            <p:spPr>
              <a:xfrm flipV="1">
                <a:off x="6370883" y="3113068"/>
                <a:ext cx="444110" cy="70982"/>
              </a:xfrm>
              <a:prstGeom prst="line">
                <a:avLst/>
              </a:prstGeom>
              <a:ln w="9525">
                <a:solidFill>
                  <a:schemeClr val="accent1"/>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87500EA8-C536-639D-6D28-AD566147605C}"/>
                  </a:ext>
                </a:extLst>
              </p:cNvPr>
              <p:cNvCxnSpPr>
                <a:cxnSpLocks/>
                <a:endCxn id="18" idx="1"/>
              </p:cNvCxnSpPr>
              <p:nvPr/>
            </p:nvCxnSpPr>
            <p:spPr>
              <a:xfrm>
                <a:off x="6814993" y="3113068"/>
                <a:ext cx="478990" cy="44669"/>
              </a:xfrm>
              <a:prstGeom prst="line">
                <a:avLst/>
              </a:prstGeom>
              <a:ln w="9525">
                <a:solidFill>
                  <a:schemeClr val="accent1"/>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BE7AADDB-9204-D48A-F542-5EDFD59109EF}"/>
                  </a:ext>
                </a:extLst>
              </p:cNvPr>
              <p:cNvCxnSpPr>
                <a:cxnSpLocks/>
                <a:stCxn id="18" idx="1"/>
              </p:cNvCxnSpPr>
              <p:nvPr/>
            </p:nvCxnSpPr>
            <p:spPr>
              <a:xfrm>
                <a:off x="7293983" y="3157737"/>
                <a:ext cx="563828" cy="407425"/>
              </a:xfrm>
              <a:prstGeom prst="line">
                <a:avLst/>
              </a:prstGeom>
              <a:ln w="9525">
                <a:solidFill>
                  <a:schemeClr val="accent1"/>
                </a:solidFill>
                <a:headEnd w="lg" len="lg"/>
                <a:tailEnd type="oval" w="lg" len="lg"/>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0EB9E7CB-83E6-8B86-17C2-397C549186D1}"/>
                  </a:ext>
                </a:extLst>
              </p:cNvPr>
              <p:cNvCxnSpPr>
                <a:cxnSpLocks/>
              </p:cNvCxnSpPr>
              <p:nvPr/>
            </p:nvCxnSpPr>
            <p:spPr>
              <a:xfrm>
                <a:off x="7857811" y="3565162"/>
                <a:ext cx="361741" cy="44669"/>
              </a:xfrm>
              <a:prstGeom prst="line">
                <a:avLst/>
              </a:prstGeom>
              <a:ln w="9525">
                <a:solidFill>
                  <a:schemeClr val="accent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DCDFBFF-870C-1708-F388-CF874DE9BD6F}"/>
                  </a:ext>
                </a:extLst>
              </p:cNvPr>
              <p:cNvCxnSpPr>
                <a:cxnSpLocks/>
                <a:endCxn id="18" idx="2"/>
              </p:cNvCxnSpPr>
              <p:nvPr/>
            </p:nvCxnSpPr>
            <p:spPr>
              <a:xfrm flipV="1">
                <a:off x="8219552" y="3188102"/>
                <a:ext cx="311330" cy="430813"/>
              </a:xfrm>
              <a:prstGeom prst="line">
                <a:avLst/>
              </a:prstGeom>
              <a:ln w="9525">
                <a:solidFill>
                  <a:schemeClr val="accent1"/>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grpSp>
        <p:sp>
          <p:nvSpPr>
            <p:cNvPr id="26" name="Textfeld 25">
              <a:extLst>
                <a:ext uri="{FF2B5EF4-FFF2-40B4-BE49-F238E27FC236}">
                  <a16:creationId xmlns:a16="http://schemas.microsoft.com/office/drawing/2014/main" id="{5FA0F537-4ED2-C63A-EFCF-9E37C1A4F528}"/>
                </a:ext>
              </a:extLst>
            </p:cNvPr>
            <p:cNvSpPr txBox="1"/>
            <p:nvPr/>
          </p:nvSpPr>
          <p:spPr>
            <a:xfrm>
              <a:off x="709506" y="961556"/>
              <a:ext cx="2556532" cy="276999"/>
            </a:xfrm>
            <a:prstGeom prst="rect">
              <a:avLst/>
            </a:prstGeom>
            <a:noFill/>
          </p:spPr>
          <p:txBody>
            <a:bodyPr wrap="square" lIns="0" tIns="0" rIns="0" bIns="0" rtlCol="0">
              <a:spAutoFit/>
            </a:bodyPr>
            <a:lstStyle/>
            <a:p>
              <a:pPr algn="l"/>
              <a:r>
                <a:rPr lang="de-DE">
                  <a:solidFill>
                    <a:schemeClr val="bg1">
                      <a:lumMod val="50000"/>
                    </a:schemeClr>
                  </a:solidFill>
                </a:rPr>
                <a:t>CAD-CAM environment</a:t>
              </a:r>
            </a:p>
          </p:txBody>
        </p:sp>
      </p:grpSp>
      <p:sp>
        <p:nvSpPr>
          <p:cNvPr id="114696" name="Rechteck 114695">
            <a:extLst>
              <a:ext uri="{FF2B5EF4-FFF2-40B4-BE49-F238E27FC236}">
                <a16:creationId xmlns:a16="http://schemas.microsoft.com/office/drawing/2014/main" id="{157EB3E4-E197-9124-7707-3CDF86D00965}"/>
              </a:ext>
            </a:extLst>
          </p:cNvPr>
          <p:cNvSpPr/>
          <p:nvPr/>
        </p:nvSpPr>
        <p:spPr>
          <a:xfrm>
            <a:off x="6672943" y="1793514"/>
            <a:ext cx="2229855" cy="4102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de-DE" sz="1600" b="1"/>
              <a:t>Digital twin</a:t>
            </a:r>
          </a:p>
        </p:txBody>
      </p:sp>
      <p:sp>
        <p:nvSpPr>
          <p:cNvPr id="114697" name="Rechteck 114696">
            <a:extLst>
              <a:ext uri="{FF2B5EF4-FFF2-40B4-BE49-F238E27FC236}">
                <a16:creationId xmlns:a16="http://schemas.microsoft.com/office/drawing/2014/main" id="{17053770-CBC2-A38A-74F8-C9CEDBC1F3A6}"/>
              </a:ext>
            </a:extLst>
          </p:cNvPr>
          <p:cNvSpPr/>
          <p:nvPr/>
        </p:nvSpPr>
        <p:spPr>
          <a:xfrm>
            <a:off x="9194130" y="1799251"/>
            <a:ext cx="2115219" cy="3923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r>
              <a:rPr lang="de-DE" sz="1600" b="1"/>
              <a:t>Real machine</a:t>
            </a:r>
          </a:p>
        </p:txBody>
      </p:sp>
      <p:sp>
        <p:nvSpPr>
          <p:cNvPr id="114703" name="Textfeld 114702">
            <a:extLst>
              <a:ext uri="{FF2B5EF4-FFF2-40B4-BE49-F238E27FC236}">
                <a16:creationId xmlns:a16="http://schemas.microsoft.com/office/drawing/2014/main" id="{A86787C9-205C-C852-6259-E3DD028183E1}"/>
              </a:ext>
            </a:extLst>
          </p:cNvPr>
          <p:cNvSpPr txBox="1"/>
          <p:nvPr/>
        </p:nvSpPr>
        <p:spPr>
          <a:xfrm>
            <a:off x="6565955" y="1480492"/>
            <a:ext cx="1860083" cy="276999"/>
          </a:xfrm>
          <a:prstGeom prst="rect">
            <a:avLst/>
          </a:prstGeom>
          <a:noFill/>
        </p:spPr>
        <p:txBody>
          <a:bodyPr wrap="square" lIns="0" tIns="0" rIns="0" bIns="0" rtlCol="0">
            <a:spAutoFit/>
          </a:bodyPr>
          <a:lstStyle/>
          <a:p>
            <a:pPr algn="l"/>
            <a:r>
              <a:rPr lang="en-US">
                <a:solidFill>
                  <a:schemeClr val="bg1">
                    <a:lumMod val="50000"/>
                  </a:schemeClr>
                </a:solidFill>
              </a:rPr>
              <a:t>CNC system</a:t>
            </a:r>
          </a:p>
        </p:txBody>
      </p:sp>
      <p:sp>
        <p:nvSpPr>
          <p:cNvPr id="114713" name="Rechteck 114712">
            <a:extLst>
              <a:ext uri="{FF2B5EF4-FFF2-40B4-BE49-F238E27FC236}">
                <a16:creationId xmlns:a16="http://schemas.microsoft.com/office/drawing/2014/main" id="{BAED847F-4E74-A8BE-6BF1-B89ECBECE41B}"/>
              </a:ext>
            </a:extLst>
          </p:cNvPr>
          <p:cNvSpPr/>
          <p:nvPr/>
        </p:nvSpPr>
        <p:spPr>
          <a:xfrm>
            <a:off x="6646434" y="3059726"/>
            <a:ext cx="1838745" cy="3614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de-DE" sz="1200" b="1">
                <a:solidFill>
                  <a:schemeClr val="tx1"/>
                </a:solidFill>
              </a:rPr>
              <a:t>Simulated movement</a:t>
            </a:r>
            <a:endParaRPr lang="de-DE" sz="1200" b="1" i="0" u="none" baseline="0">
              <a:solidFill>
                <a:schemeClr val="tx1"/>
              </a:solidFill>
            </a:endParaRPr>
          </a:p>
        </p:txBody>
      </p:sp>
      <p:sp>
        <p:nvSpPr>
          <p:cNvPr id="114719" name="Rechteck 114718">
            <a:extLst>
              <a:ext uri="{FF2B5EF4-FFF2-40B4-BE49-F238E27FC236}">
                <a16:creationId xmlns:a16="http://schemas.microsoft.com/office/drawing/2014/main" id="{4FCB5878-ADF2-0EEC-00FB-1D8002386A37}"/>
              </a:ext>
            </a:extLst>
          </p:cNvPr>
          <p:cNvSpPr/>
          <p:nvPr/>
        </p:nvSpPr>
        <p:spPr>
          <a:xfrm>
            <a:off x="9281899" y="3055736"/>
            <a:ext cx="1986521" cy="3614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de-DE" sz="1200" b="1">
                <a:solidFill>
                  <a:schemeClr val="tx1"/>
                </a:solidFill>
              </a:rPr>
              <a:t>Actual movement</a:t>
            </a:r>
            <a:endParaRPr lang="de-DE" sz="1200" b="1" i="0" u="none" baseline="0">
              <a:solidFill>
                <a:schemeClr val="tx1"/>
              </a:solidFill>
            </a:endParaRPr>
          </a:p>
        </p:txBody>
      </p:sp>
      <p:sp>
        <p:nvSpPr>
          <p:cNvPr id="32" name="Down Arrow 308">
            <a:extLst>
              <a:ext uri="{FF2B5EF4-FFF2-40B4-BE49-F238E27FC236}">
                <a16:creationId xmlns:a16="http://schemas.microsoft.com/office/drawing/2014/main" id="{85F9FFF6-35F4-316C-E004-C04FFF0EDEE9}"/>
              </a:ext>
            </a:extLst>
          </p:cNvPr>
          <p:cNvSpPr/>
          <p:nvPr/>
        </p:nvSpPr>
        <p:spPr bwMode="auto">
          <a:xfrm>
            <a:off x="1786323" y="2948509"/>
            <a:ext cx="229649" cy="797481"/>
          </a:xfrm>
          <a:prstGeom prst="downArrow">
            <a:avLst/>
          </a:prstGeom>
          <a:solidFill>
            <a:schemeClr val="accent1"/>
          </a:solidFill>
          <a:ln>
            <a:noFill/>
          </a:ln>
          <a:effectLst/>
        </p:spPr>
        <p:txBody>
          <a:bodyPr wrap="square" lIns="107944" tIns="53972" rIns="107944" bIns="53972" numCol="1" spcCol="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eaLnBrk="1" fontAlgn="base" hangingPunct="1">
              <a:lnSpc>
                <a:spcPct val="110000"/>
              </a:lnSpc>
              <a:spcBef>
                <a:spcPct val="0"/>
              </a:spcBef>
              <a:spcAft>
                <a:spcPct val="0"/>
              </a:spcAft>
              <a:buFont typeface="Wingdings" charset="0"/>
              <a:buNone/>
            </a:pPr>
            <a:endParaRPr lang="en-us" sz="1799">
              <a:solidFill>
                <a:srgbClr val="000000"/>
              </a:solidFill>
              <a:latin typeface="Arial"/>
              <a:ea typeface="Arial Unicode MS" panose="020B0604020202020204" pitchFamily="34" charset="-128"/>
              <a:cs typeface="Arial Unicode MS" panose="020B0604020202020204" pitchFamily="34" charset="-128"/>
            </a:endParaRPr>
          </a:p>
        </p:txBody>
      </p:sp>
      <p:sp>
        <p:nvSpPr>
          <p:cNvPr id="35" name="Rechteck 34">
            <a:extLst>
              <a:ext uri="{FF2B5EF4-FFF2-40B4-BE49-F238E27FC236}">
                <a16:creationId xmlns:a16="http://schemas.microsoft.com/office/drawing/2014/main" id="{E0E087C7-2434-4571-26D4-8A4330E378BE}"/>
              </a:ext>
            </a:extLst>
          </p:cNvPr>
          <p:cNvSpPr/>
          <p:nvPr/>
        </p:nvSpPr>
        <p:spPr>
          <a:xfrm>
            <a:off x="973947" y="3055736"/>
            <a:ext cx="1838745" cy="3614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us" sz="1200" b="1">
                <a:solidFill>
                  <a:schemeClr val="tx1"/>
                </a:solidFill>
              </a:rPr>
              <a:t>G-Code</a:t>
            </a:r>
            <a:endParaRPr lang="en-us" sz="1200" b="1" i="0" u="none" baseline="0">
              <a:solidFill>
                <a:schemeClr val="tx1"/>
              </a:solidFill>
            </a:endParaRPr>
          </a:p>
        </p:txBody>
      </p:sp>
      <p:sp>
        <p:nvSpPr>
          <p:cNvPr id="2" name="Gleichschenkliges Dreieck 1">
            <a:extLst>
              <a:ext uri="{FF2B5EF4-FFF2-40B4-BE49-F238E27FC236}">
                <a16:creationId xmlns:a16="http://schemas.microsoft.com/office/drawing/2014/main" id="{00089770-CFE1-12CF-A8CF-EB7093B0506E}"/>
              </a:ext>
            </a:extLst>
          </p:cNvPr>
          <p:cNvSpPr/>
          <p:nvPr/>
        </p:nvSpPr>
        <p:spPr>
          <a:xfrm rot="5400000">
            <a:off x="2109497" y="1936796"/>
            <a:ext cx="360219" cy="216614"/>
          </a:xfrm>
          <a:prstGeom prst="triangle">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4" name="Gleichschenkliges Dreieck 3">
            <a:extLst>
              <a:ext uri="{FF2B5EF4-FFF2-40B4-BE49-F238E27FC236}">
                <a16:creationId xmlns:a16="http://schemas.microsoft.com/office/drawing/2014/main" id="{3FCB00EB-74CA-4E3C-CEF6-2200EDE1D6A3}"/>
              </a:ext>
            </a:extLst>
          </p:cNvPr>
          <p:cNvSpPr/>
          <p:nvPr/>
        </p:nvSpPr>
        <p:spPr>
          <a:xfrm rot="5400000">
            <a:off x="4225975" y="1915354"/>
            <a:ext cx="360219" cy="216614"/>
          </a:xfrm>
          <a:prstGeom prst="triangle">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0" name="TextBox 16">
            <a:extLst>
              <a:ext uri="{FF2B5EF4-FFF2-40B4-BE49-F238E27FC236}">
                <a16:creationId xmlns:a16="http://schemas.microsoft.com/office/drawing/2014/main" id="{879CA301-D34E-C3A1-EC4A-82D11422DA78}"/>
              </a:ext>
            </a:extLst>
          </p:cNvPr>
          <p:cNvSpPr txBox="1"/>
          <p:nvPr/>
        </p:nvSpPr>
        <p:spPr>
          <a:xfrm>
            <a:off x="381299" y="3813981"/>
            <a:ext cx="3600000" cy="1887071"/>
          </a:xfrm>
          <a:prstGeom prst="rect">
            <a:avLst/>
          </a:prstGeom>
          <a:solidFill>
            <a:schemeClr val="bg2"/>
          </a:solidFill>
          <a:ln>
            <a:noFill/>
          </a:ln>
        </p:spPr>
        <p:txBody>
          <a:bodyPr vert="horz" wrap="square" lIns="108000" tIns="72000" rIns="108000" bIns="0" rtlCol="0">
            <a:noAutofit/>
          </a:bodyPr>
          <a:lstStyle/>
          <a:p>
            <a:pPr algn="l" rtl="0" fontAlgn="base">
              <a:lnSpc>
                <a:spcPct val="110000"/>
              </a:lnSpc>
              <a:spcAft>
                <a:spcPct val="0"/>
              </a:spcAft>
            </a:pPr>
            <a:r>
              <a:rPr lang="de-DE" sz="1199" b="0" i="0" u="none" baseline="0">
                <a:latin typeface="Arial"/>
                <a:ea typeface="Arial Unicode MS" panose="020B0604020202020204" pitchFamily="34" charset="-128"/>
                <a:cs typeface="Arial Unicode MS" panose="020B0604020202020204" pitchFamily="34" charset="-128"/>
              </a:rPr>
              <a:t>Output of the </a:t>
            </a:r>
            <a:r>
              <a:rPr lang="de-DE" sz="1199" b="1" i="0" u="none" baseline="0">
                <a:solidFill>
                  <a:schemeClr val="accent1"/>
                </a:solidFill>
                <a:latin typeface="Arial"/>
                <a:ea typeface="Arial Unicode MS" panose="020B0604020202020204" pitchFamily="34" charset="-128"/>
                <a:cs typeface="Arial Unicode MS" panose="020B0604020202020204" pitchFamily="34" charset="-128"/>
              </a:rPr>
              <a:t>CAD/CAM system </a:t>
            </a:r>
          </a:p>
          <a:p>
            <a:pPr marL="171450" indent="-171450" algn="l" rtl="0" fontAlgn="base">
              <a:lnSpc>
                <a:spcPct val="110000"/>
              </a:lnSpc>
              <a:spcAft>
                <a:spcPct val="0"/>
              </a:spcAft>
              <a:buFont typeface="Arial" panose="020B0604020202020204" pitchFamily="34" charset="0"/>
              <a:buChar char="•"/>
            </a:pPr>
            <a:r>
              <a:rPr lang="de-DE" sz="1200"/>
              <a:t>Draw conclusions regarding the final quality of the workpiece</a:t>
            </a:r>
            <a:endParaRPr lang="de-DE" sz="1199" b="0" i="0" u="none" baseline="0">
              <a:latin typeface="Arial"/>
              <a:ea typeface="Arial Unicode MS" panose="020B0604020202020204" pitchFamily="34" charset="-128"/>
              <a:cs typeface="Arial Unicode MS" panose="020B0604020202020204" pitchFamily="34" charset="-128"/>
            </a:endParaRPr>
          </a:p>
          <a:p>
            <a:pPr marL="171450" indent="-171450" algn="l" rtl="0" fontAlgn="base">
              <a:lnSpc>
                <a:spcPct val="110000"/>
              </a:lnSpc>
              <a:spcAft>
                <a:spcPct val="0"/>
              </a:spcAft>
              <a:buFont typeface="Arial" panose="020B0604020202020204" pitchFamily="34" charset="0"/>
              <a:buChar char="•"/>
            </a:pPr>
            <a:r>
              <a:rPr lang="de-DE" sz="1199" b="0" i="0" u="none" baseline="0">
                <a:latin typeface="Arial"/>
                <a:ea typeface="Arial Unicode MS" panose="020B0604020202020204" pitchFamily="34" charset="-128"/>
                <a:cs typeface="Arial Unicode MS" panose="020B0604020202020204" pitchFamily="34" charset="-128"/>
              </a:rPr>
              <a:t>Identify discontinuous </a:t>
            </a:r>
            <a:r>
              <a:rPr lang="de-DE" sz="1199">
                <a:latin typeface="Arial"/>
                <a:ea typeface="Arial Unicode MS" panose="020B0604020202020204" pitchFamily="34" charset="-128"/>
                <a:cs typeface="Arial Unicode MS" panose="020B0604020202020204" pitchFamily="34" charset="-128"/>
              </a:rPr>
              <a:t>tool paths</a:t>
            </a:r>
            <a:endParaRPr lang="de-DE" sz="1199" b="0" i="0" u="none" baseline="0">
              <a:latin typeface="Arial"/>
              <a:ea typeface="Arial Unicode MS" panose="020B0604020202020204" pitchFamily="34" charset="-128"/>
              <a:cs typeface="Arial Unicode MS" panose="020B0604020202020204" pitchFamily="34" charset="-128"/>
            </a:endParaRPr>
          </a:p>
        </p:txBody>
      </p:sp>
      <p:sp>
        <p:nvSpPr>
          <p:cNvPr id="11" name="Fußzeilenplatzhalter 7">
            <a:extLst>
              <a:ext uri="{FF2B5EF4-FFF2-40B4-BE49-F238E27FC236}">
                <a16:creationId xmlns:a16="http://schemas.microsoft.com/office/drawing/2014/main" id="{4CCA6D79-2D42-DE42-FCFD-64DED473C6C7}"/>
              </a:ext>
            </a:extLst>
          </p:cNvPr>
          <p:cNvSpPr>
            <a:spLocks noGrp="1"/>
          </p:cNvSpPr>
          <p:nvPr>
            <p:ph type="ftr" sz="quarter" idx="10"/>
          </p:nvPr>
        </p:nvSpPr>
        <p:spPr>
          <a:xfrm>
            <a:off x="1059160" y="6310800"/>
            <a:ext cx="9216000" cy="547200"/>
          </a:xfrm>
        </p:spPr>
        <p:txBody>
          <a:bodyPr/>
          <a:lstStyle/>
          <a:p>
            <a:pPr>
              <a:lnSpc>
                <a:spcPct val="100000"/>
              </a:lnSpc>
            </a:pPr>
            <a:r>
              <a:rPr lang="en-US" noProof="0"/>
              <a:t>Unrestricted | © Siemens 2023 | MACHINUM</a:t>
            </a:r>
          </a:p>
        </p:txBody>
      </p:sp>
      <p:sp>
        <p:nvSpPr>
          <p:cNvPr id="12" name="Foliennummernplatzhalter 8">
            <a:extLst>
              <a:ext uri="{FF2B5EF4-FFF2-40B4-BE49-F238E27FC236}">
                <a16:creationId xmlns:a16="http://schemas.microsoft.com/office/drawing/2014/main" id="{61EDBBBB-2186-E424-9C8C-B66F1D6DF3C8}"/>
              </a:ext>
            </a:extLst>
          </p:cNvPr>
          <p:cNvSpPr>
            <a:spLocks noGrp="1"/>
          </p:cNvSpPr>
          <p:nvPr>
            <p:ph type="sldNum" sz="quarter" idx="11"/>
          </p:nvPr>
        </p:nvSpPr>
        <p:spPr>
          <a:xfrm>
            <a:off x="411162" y="6310800"/>
            <a:ext cx="648000" cy="547200"/>
          </a:xfrm>
        </p:spPr>
        <p:txBody>
          <a:bodyPr/>
          <a:lstStyle/>
          <a:p>
            <a:r>
              <a:rPr lang="en-US" noProof="0"/>
              <a:t>Page </a:t>
            </a:r>
            <a:fld id="{15EBE321-CBB1-4E91-BD14-37C8D44326FB}" type="slidenum">
              <a:rPr lang="en-US" noProof="0" smtClean="0"/>
              <a:t>6</a:t>
            </a:fld>
            <a:endParaRPr lang="en-US" noProof="0"/>
          </a:p>
        </p:txBody>
      </p:sp>
      <p:pic>
        <p:nvPicPr>
          <p:cNvPr id="8" name="Grafik 7">
            <a:extLst>
              <a:ext uri="{FF2B5EF4-FFF2-40B4-BE49-F238E27FC236}">
                <a16:creationId xmlns:a16="http://schemas.microsoft.com/office/drawing/2014/main" id="{5C64154F-D214-3B75-4BDF-4DF7A0978E80}"/>
              </a:ext>
            </a:extLst>
          </p:cNvPr>
          <p:cNvPicPr>
            <a:picLocks noChangeAspect="1"/>
          </p:cNvPicPr>
          <p:nvPr/>
        </p:nvPicPr>
        <p:blipFill rotWithShape="1">
          <a:blip r:embed="rId4"/>
          <a:srcRect l="11236" t="6713" r="10473" b="13753"/>
          <a:stretch/>
        </p:blipFill>
        <p:spPr>
          <a:xfrm>
            <a:off x="9182656" y="4963650"/>
            <a:ext cx="1744189" cy="969011"/>
          </a:xfrm>
          <a:prstGeom prst="rect">
            <a:avLst/>
          </a:prstGeom>
        </p:spPr>
      </p:pic>
      <p:pic>
        <p:nvPicPr>
          <p:cNvPr id="24" name="Grafik 23" descr="Bildschirmausschnitt">
            <a:extLst>
              <a:ext uri="{FF2B5EF4-FFF2-40B4-BE49-F238E27FC236}">
                <a16:creationId xmlns:a16="http://schemas.microsoft.com/office/drawing/2014/main" id="{866B4B44-6EDC-9BF4-7692-BDF7783B2E0D}"/>
              </a:ext>
            </a:extLst>
          </p:cNvPr>
          <p:cNvPicPr>
            <a:picLocks noChangeAspect="1"/>
          </p:cNvPicPr>
          <p:nvPr/>
        </p:nvPicPr>
        <p:blipFill rotWithShape="1">
          <a:blip r:embed="rId5">
            <a:extLst>
              <a:ext uri="{28A0092B-C50C-407E-A947-70E740481C1C}">
                <a14:useLocalDpi xmlns:a14="http://schemas.microsoft.com/office/drawing/2010/main" val="0"/>
              </a:ext>
            </a:extLst>
          </a:blip>
          <a:srcRect r="43696" b="23092"/>
          <a:stretch/>
        </p:blipFill>
        <p:spPr>
          <a:xfrm>
            <a:off x="5327402" y="4963652"/>
            <a:ext cx="1750763" cy="969010"/>
          </a:xfrm>
          <a:prstGeom prst="rect">
            <a:avLst/>
          </a:prstGeom>
        </p:spPr>
      </p:pic>
      <p:pic>
        <p:nvPicPr>
          <p:cNvPr id="25" name="Picture 2">
            <a:extLst>
              <a:ext uri="{FF2B5EF4-FFF2-40B4-BE49-F238E27FC236}">
                <a16:creationId xmlns:a16="http://schemas.microsoft.com/office/drawing/2014/main" id="{455B1928-D82E-3C00-4ADE-B17EA5B8815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8363" t="6960" r="6816" b="15351"/>
          <a:stretch/>
        </p:blipFill>
        <p:spPr bwMode="auto">
          <a:xfrm>
            <a:off x="1289866" y="4963416"/>
            <a:ext cx="1752338" cy="96719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72915072"/>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2E6890B-19A0-CFA6-0D89-210D0266E342}"/>
              </a:ext>
            </a:extLst>
          </p:cNvPr>
          <p:cNvGraphicFramePr>
            <a:graphicFrameLocks noChangeAspect="1"/>
          </p:cNvGraphicFramePr>
          <p:nvPr>
            <p:custDataLst>
              <p:tags r:id="rId1"/>
            </p:custDataLst>
            <p:extLst>
              <p:ext uri="{D42A27DB-BD31-4B8C-83A1-F6EECF244321}">
                <p14:modId xmlns:p14="http://schemas.microsoft.com/office/powerpoint/2010/main" val="2067352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8" name="Objekt 7" hidden="1">
                        <a:extLst>
                          <a:ext uri="{FF2B5EF4-FFF2-40B4-BE49-F238E27FC236}">
                            <a16:creationId xmlns:a16="http://schemas.microsoft.com/office/drawing/2014/main" id="{82E6890B-19A0-CFA6-0D89-210D0266E3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16">
            <a:extLst>
              <a:ext uri="{FF2B5EF4-FFF2-40B4-BE49-F238E27FC236}">
                <a16:creationId xmlns:a16="http://schemas.microsoft.com/office/drawing/2014/main" id="{CB6B75B8-0387-8A39-0E64-1168A7C3AAAB}"/>
              </a:ext>
            </a:extLst>
          </p:cNvPr>
          <p:cNvSpPr txBox="1"/>
          <p:nvPr/>
        </p:nvSpPr>
        <p:spPr>
          <a:xfrm>
            <a:off x="406431" y="2137632"/>
            <a:ext cx="5908644" cy="4029806"/>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base">
              <a:lnSpc>
                <a:spcPct val="110000"/>
              </a:lnSpc>
              <a:spcAft>
                <a:spcPct val="0"/>
              </a:spcAft>
            </a:pPr>
            <a:endParaRPr lang="en-us" sz="1199" b="0" i="0" u="none" baseline="0">
              <a:latin typeface="Arial"/>
              <a:ea typeface="Arial Unicode MS" panose="020B0604020202020204" pitchFamily="34" charset="-128"/>
              <a:cs typeface="Arial Unicode MS" panose="020B0604020202020204" pitchFamily="34" charset="-128"/>
            </a:endParaRPr>
          </a:p>
        </p:txBody>
      </p:sp>
      <p:sp>
        <p:nvSpPr>
          <p:cNvPr id="3" name="Title 2"/>
          <p:cNvSpPr>
            <a:spLocks noGrp="1"/>
          </p:cNvSpPr>
          <p:nvPr>
            <p:ph type="title"/>
          </p:nvPr>
        </p:nvSpPr>
        <p:spPr/>
        <p:txBody>
          <a:bodyPr vert="horz"/>
          <a:lstStyle/>
          <a:p>
            <a:pPr algn="l" rtl="0"/>
            <a:r>
              <a:rPr lang="de-DE"/>
              <a:t>Analyze MyWorkpiece /Toolpath, Chiron Group SE - </a:t>
            </a:r>
            <a:br>
              <a:rPr lang="de-DE"/>
            </a:br>
            <a:r>
              <a:rPr lang="de-DE" sz="2000">
                <a:latin typeface="Arial" panose="020B0604020202020204" pitchFamily="34" charset="0"/>
              </a:rPr>
              <a:t>Basics of part program analysis </a:t>
            </a:r>
            <a:endParaRPr lang="de-DE"/>
          </a:p>
        </p:txBody>
      </p:sp>
      <p:sp>
        <p:nvSpPr>
          <p:cNvPr id="854" name="TextBox 364"/>
          <p:cNvSpPr txBox="1">
            <a:spLocks/>
          </p:cNvSpPr>
          <p:nvPr/>
        </p:nvSpPr>
        <p:spPr>
          <a:xfrm>
            <a:off x="623125" y="2754326"/>
            <a:ext cx="4895515" cy="2862007"/>
          </a:xfrm>
          <a:prstGeom prst="rect">
            <a:avLst/>
          </a:prstGeom>
          <a:noFill/>
        </p:spPr>
        <p:txBody>
          <a:bodyPr wrap="square" lIns="71963" tIns="71963" rIns="71963" bIns="71963" rtlCol="0" anchor="t">
            <a:noAutofit/>
          </a:bodyPr>
          <a:lstStyle/>
          <a:p>
            <a:pPr>
              <a:spcBef>
                <a:spcPts val="1199"/>
              </a:spcBef>
            </a:pPr>
            <a:r>
              <a:rPr lang="en-US" sz="1600" dirty="0"/>
              <a:t>Jumps of curvature on the tool trajectory directly lead to velocity drops, because of the resulting centripetal acceleration.</a:t>
            </a:r>
          </a:p>
          <a:p>
            <a:pPr>
              <a:spcBef>
                <a:spcPts val="1199"/>
              </a:spcBef>
            </a:pPr>
            <a:r>
              <a:rPr lang="en-US" sz="1600" dirty="0"/>
              <a:t>It can already be analyzed in the part </a:t>
            </a:r>
            <a:r>
              <a:rPr lang="en-US" sz="1600" dirty="0" err="1"/>
              <a:t>programm</a:t>
            </a:r>
            <a:r>
              <a:rPr lang="en-US" sz="1600" dirty="0"/>
              <a:t>, what effects may </a:t>
            </a:r>
            <a:r>
              <a:rPr lang="en-US" sz="1600" dirty="0" err="1"/>
              <a:t>occure</a:t>
            </a:r>
            <a:r>
              <a:rPr lang="en-US" sz="1600" dirty="0"/>
              <a:t> later. The reason for that is, if you look at it from the NC point of view, the curvatures of the points are affecting the polynomial formed by the compressor.</a:t>
            </a:r>
          </a:p>
          <a:p>
            <a:pPr>
              <a:spcBef>
                <a:spcPts val="1199"/>
              </a:spcBef>
            </a:pPr>
            <a:endParaRPr lang="de-DE" sz="1600" dirty="0"/>
          </a:p>
          <a:p>
            <a:pPr>
              <a:spcBef>
                <a:spcPts val="1199"/>
              </a:spcBef>
            </a:pPr>
            <a:endParaRPr lang="de-DE" sz="1600" dirty="0"/>
          </a:p>
        </p:txBody>
      </p:sp>
      <p:sp>
        <p:nvSpPr>
          <p:cNvPr id="5" name="Fußzeilenplatzhalter 7">
            <a:extLst>
              <a:ext uri="{FF2B5EF4-FFF2-40B4-BE49-F238E27FC236}">
                <a16:creationId xmlns:a16="http://schemas.microsoft.com/office/drawing/2014/main" id="{5DC97A31-C15E-4F70-9E3F-7BBEADC3F544}"/>
              </a:ext>
            </a:extLst>
          </p:cNvPr>
          <p:cNvSpPr>
            <a:spLocks noGrp="1"/>
          </p:cNvSpPr>
          <p:nvPr>
            <p:ph type="ftr" sz="quarter" idx="10"/>
          </p:nvPr>
        </p:nvSpPr>
        <p:spPr>
          <a:xfrm>
            <a:off x="1059160" y="6343457"/>
            <a:ext cx="9216000" cy="547200"/>
          </a:xfrm>
        </p:spPr>
        <p:txBody>
          <a:bodyPr/>
          <a:lstStyle/>
          <a:p>
            <a:pPr>
              <a:lnSpc>
                <a:spcPct val="100000"/>
              </a:lnSpc>
            </a:pPr>
            <a:r>
              <a:rPr lang="en-US" noProof="0"/>
              <a:t>Unrestricted | © Siemens 2023 | MACHINUM</a:t>
            </a:r>
          </a:p>
        </p:txBody>
      </p:sp>
      <p:sp>
        <p:nvSpPr>
          <p:cNvPr id="6" name="Foliennummernplatzhalter 8">
            <a:extLst>
              <a:ext uri="{FF2B5EF4-FFF2-40B4-BE49-F238E27FC236}">
                <a16:creationId xmlns:a16="http://schemas.microsoft.com/office/drawing/2014/main" id="{DC39B9F7-C842-0BA9-67B9-347372CC93B2}"/>
              </a:ext>
            </a:extLst>
          </p:cNvPr>
          <p:cNvSpPr>
            <a:spLocks noGrp="1"/>
          </p:cNvSpPr>
          <p:nvPr>
            <p:ph type="sldNum" sz="quarter" idx="11"/>
          </p:nvPr>
        </p:nvSpPr>
        <p:spPr>
          <a:xfrm>
            <a:off x="411162" y="6310800"/>
            <a:ext cx="648000" cy="547200"/>
          </a:xfrm>
        </p:spPr>
        <p:txBody>
          <a:bodyPr/>
          <a:lstStyle/>
          <a:p>
            <a:r>
              <a:rPr lang="en-US" noProof="0"/>
              <a:t>Page </a:t>
            </a:r>
            <a:fld id="{15EBE321-CBB1-4E91-BD14-37C8D44326FB}" type="slidenum">
              <a:rPr lang="en-US" noProof="0" smtClean="0"/>
              <a:t>7</a:t>
            </a:fld>
            <a:endParaRPr lang="en-US" noProof="0"/>
          </a:p>
        </p:txBody>
      </p:sp>
      <p:pic>
        <p:nvPicPr>
          <p:cNvPr id="2" name="Grafik 1">
            <a:extLst>
              <a:ext uri="{FF2B5EF4-FFF2-40B4-BE49-F238E27FC236}">
                <a16:creationId xmlns:a16="http://schemas.microsoft.com/office/drawing/2014/main" id="{B0AE7485-0FCB-3B95-2CDC-968E0CB7DC2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21714" y="2613766"/>
            <a:ext cx="4965474" cy="2935797"/>
          </a:xfrm>
          <a:prstGeom prst="rect">
            <a:avLst/>
          </a:prstGeom>
        </p:spPr>
      </p:pic>
      <p:sp>
        <p:nvSpPr>
          <p:cNvPr id="9" name="cdtText Placeholder 10 Id11">
            <a:extLst>
              <a:ext uri="{FF2B5EF4-FFF2-40B4-BE49-F238E27FC236}">
                <a16:creationId xmlns:a16="http://schemas.microsoft.com/office/drawing/2014/main" id="{9569A257-1A23-5745-AD87-0DE7698F3980}"/>
              </a:ext>
            </a:extLst>
          </p:cNvPr>
          <p:cNvSpPr txBox="1">
            <a:spLocks/>
          </p:cNvSpPr>
          <p:nvPr/>
        </p:nvSpPr>
        <p:spPr bwMode="gray">
          <a:xfrm>
            <a:off x="410400" y="1414463"/>
            <a:ext cx="7128000" cy="36920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endParaRPr lang="de-DE" sz="2399" b="1">
              <a:latin typeface="Arial"/>
              <a:ea typeface="ＭＳ Ｐゴシック"/>
              <a:cs typeface="Arial"/>
            </a:endParaRPr>
          </a:p>
        </p:txBody>
      </p:sp>
      <p:cxnSp>
        <p:nvCxnSpPr>
          <p:cNvPr id="10" name="Gerader Verbinder 9">
            <a:extLst>
              <a:ext uri="{FF2B5EF4-FFF2-40B4-BE49-F238E27FC236}">
                <a16:creationId xmlns:a16="http://schemas.microsoft.com/office/drawing/2014/main" id="{FC0D6B50-8476-26EF-4B4F-DECFA84114D9}"/>
              </a:ext>
            </a:extLst>
          </p:cNvPr>
          <p:cNvCxnSpPr/>
          <p:nvPr/>
        </p:nvCxnSpPr>
        <p:spPr>
          <a:xfrm>
            <a:off x="406431" y="1854545"/>
            <a:ext cx="433388" cy="0"/>
          </a:xfrm>
          <a:prstGeom prst="line">
            <a:avLst/>
          </a:prstGeom>
          <a:ln w="38100" cap="flat">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 name="cdtText Placeholder 10 Id11">
            <a:extLst>
              <a:ext uri="{FF2B5EF4-FFF2-40B4-BE49-F238E27FC236}">
                <a16:creationId xmlns:a16="http://schemas.microsoft.com/office/drawing/2014/main" id="{1E32C8C2-68AE-BBD2-1417-226B14BE3658}"/>
              </a:ext>
            </a:extLst>
          </p:cNvPr>
          <p:cNvSpPr txBox="1">
            <a:spLocks/>
          </p:cNvSpPr>
          <p:nvPr/>
        </p:nvSpPr>
        <p:spPr bwMode="gray">
          <a:xfrm>
            <a:off x="446025" y="1441560"/>
            <a:ext cx="7128000" cy="36920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r>
              <a:rPr lang="de-DE" sz="2399" b="1">
                <a:latin typeface="Arial"/>
                <a:ea typeface="ＭＳ Ｐゴシック"/>
                <a:cs typeface="Arial"/>
              </a:rPr>
              <a:t>Siemens solution</a:t>
            </a:r>
          </a:p>
        </p:txBody>
      </p:sp>
      <p:sp>
        <p:nvSpPr>
          <p:cNvPr id="11" name="Gleichschenkliges Dreieck 10">
            <a:extLst>
              <a:ext uri="{FF2B5EF4-FFF2-40B4-BE49-F238E27FC236}">
                <a16:creationId xmlns:a16="http://schemas.microsoft.com/office/drawing/2014/main" id="{539DE856-2FC0-9D03-F570-BB8B9B1E2559}"/>
              </a:ext>
            </a:extLst>
          </p:cNvPr>
          <p:cNvSpPr/>
          <p:nvPr/>
        </p:nvSpPr>
        <p:spPr>
          <a:xfrm rot="5400000">
            <a:off x="6133770" y="3912762"/>
            <a:ext cx="617083" cy="446314"/>
          </a:xfrm>
          <a:prstGeom prst="triangle">
            <a:avLst/>
          </a:prstGeom>
          <a:solidFill>
            <a:srgbClr val="F3F3F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Tree>
    <p:extLst>
      <p:ext uri="{BB962C8B-B14F-4D97-AF65-F5344CB8AC3E}">
        <p14:creationId xmlns:p14="http://schemas.microsoft.com/office/powerpoint/2010/main" val="126602509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1234CB8-5B97-A9AD-6141-8147FB385C59}"/>
              </a:ext>
            </a:extLst>
          </p:cNvPr>
          <p:cNvGraphicFramePr>
            <a:graphicFrameLocks noChangeAspect="1"/>
          </p:cNvGraphicFramePr>
          <p:nvPr>
            <p:custDataLst>
              <p:tags r:id="rId1"/>
            </p:custDataLst>
            <p:extLst>
              <p:ext uri="{D42A27DB-BD31-4B8C-83A1-F6EECF244321}">
                <p14:modId xmlns:p14="http://schemas.microsoft.com/office/powerpoint/2010/main" val="714334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Objekt 3" hidden="1">
                        <a:extLst>
                          <a:ext uri="{FF2B5EF4-FFF2-40B4-BE49-F238E27FC236}">
                            <a16:creationId xmlns:a16="http://schemas.microsoft.com/office/drawing/2014/main" id="{71234CB8-5B97-A9AD-6141-8147FB385C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7AFAD779-E55F-BAD4-141C-69CDDD3E430D}"/>
              </a:ext>
            </a:extLst>
          </p:cNvPr>
          <p:cNvPicPr>
            <a:picLocks noChangeAspect="1"/>
          </p:cNvPicPr>
          <p:nvPr/>
        </p:nvPicPr>
        <p:blipFill rotWithShape="1">
          <a:blip r:embed="rId6"/>
          <a:srcRect l="11691" r="31402"/>
          <a:stretch/>
        </p:blipFill>
        <p:spPr>
          <a:xfrm>
            <a:off x="7019262" y="2101276"/>
            <a:ext cx="3600968" cy="1378126"/>
          </a:xfrm>
          <a:prstGeom prst="rect">
            <a:avLst/>
          </a:prstGeom>
        </p:spPr>
      </p:pic>
      <p:pic>
        <p:nvPicPr>
          <p:cNvPr id="3" name="Grafik 2">
            <a:extLst>
              <a:ext uri="{FF2B5EF4-FFF2-40B4-BE49-F238E27FC236}">
                <a16:creationId xmlns:a16="http://schemas.microsoft.com/office/drawing/2014/main" id="{6788F964-2145-C724-61D1-5E1BA8448BA8}"/>
              </a:ext>
            </a:extLst>
          </p:cNvPr>
          <p:cNvPicPr>
            <a:picLocks noChangeAspect="1"/>
          </p:cNvPicPr>
          <p:nvPr/>
        </p:nvPicPr>
        <p:blipFill>
          <a:blip r:embed="rId7"/>
          <a:stretch>
            <a:fillRect/>
          </a:stretch>
        </p:blipFill>
        <p:spPr>
          <a:xfrm>
            <a:off x="7022662" y="4135919"/>
            <a:ext cx="1860082" cy="1603519"/>
          </a:xfrm>
          <a:prstGeom prst="rect">
            <a:avLst/>
          </a:prstGeom>
        </p:spPr>
      </p:pic>
      <p:sp>
        <p:nvSpPr>
          <p:cNvPr id="13" name="Titel 12">
            <a:extLst>
              <a:ext uri="{FF2B5EF4-FFF2-40B4-BE49-F238E27FC236}">
                <a16:creationId xmlns:a16="http://schemas.microsoft.com/office/drawing/2014/main" id="{C919B719-7AFD-3285-5BAE-4CCDCDEF2ED4}"/>
              </a:ext>
            </a:extLst>
          </p:cNvPr>
          <p:cNvSpPr>
            <a:spLocks noGrp="1"/>
          </p:cNvSpPr>
          <p:nvPr>
            <p:ph type="title"/>
          </p:nvPr>
        </p:nvSpPr>
        <p:spPr/>
        <p:txBody>
          <a:bodyPr vert="horz"/>
          <a:lstStyle/>
          <a:p>
            <a:r>
              <a:rPr lang="en-US" dirty="0"/>
              <a:t>Analyze MyWorkpiece /Toolpath, Chiron Group SE - </a:t>
            </a:r>
            <a:br>
              <a:rPr lang="en-US" dirty="0"/>
            </a:br>
            <a:r>
              <a:rPr lang="en-US" dirty="0">
                <a:latin typeface="Arial" panose="020B0604020202020204" pitchFamily="34" charset="0"/>
              </a:rPr>
              <a:t>Improve process stability and reduce cycle times</a:t>
            </a:r>
            <a:br>
              <a:rPr lang="en-US" b="0" dirty="0"/>
            </a:br>
            <a:endParaRPr lang="en-US" dirty="0"/>
          </a:p>
        </p:txBody>
      </p:sp>
      <p:sp>
        <p:nvSpPr>
          <p:cNvPr id="5" name="Fußzeilenplatzhalter 7">
            <a:extLst>
              <a:ext uri="{FF2B5EF4-FFF2-40B4-BE49-F238E27FC236}">
                <a16:creationId xmlns:a16="http://schemas.microsoft.com/office/drawing/2014/main" id="{5DC97A31-C15E-4F70-9E3F-7BBEADC3F544}"/>
              </a:ext>
            </a:extLst>
          </p:cNvPr>
          <p:cNvSpPr>
            <a:spLocks noGrp="1"/>
          </p:cNvSpPr>
          <p:nvPr>
            <p:ph type="ftr" sz="quarter" idx="10"/>
          </p:nvPr>
        </p:nvSpPr>
        <p:spPr/>
        <p:txBody>
          <a:bodyPr/>
          <a:lstStyle/>
          <a:p>
            <a:r>
              <a:rPr lang="en-US" noProof="0"/>
              <a:t>Unrestricted | © Siemens 2023 | MACHINUM</a:t>
            </a:r>
          </a:p>
        </p:txBody>
      </p:sp>
      <p:sp>
        <p:nvSpPr>
          <p:cNvPr id="6" name="Foliennummernplatzhalter 8">
            <a:extLst>
              <a:ext uri="{FF2B5EF4-FFF2-40B4-BE49-F238E27FC236}">
                <a16:creationId xmlns:a16="http://schemas.microsoft.com/office/drawing/2014/main" id="{DC39B9F7-C842-0BA9-67B9-347372CC93B2}"/>
              </a:ext>
            </a:extLst>
          </p:cNvPr>
          <p:cNvSpPr>
            <a:spLocks noGrp="1"/>
          </p:cNvSpPr>
          <p:nvPr>
            <p:ph type="sldNum" sz="quarter" idx="11"/>
          </p:nvPr>
        </p:nvSpPr>
        <p:spPr/>
        <p:txBody>
          <a:bodyPr/>
          <a:lstStyle/>
          <a:p>
            <a:r>
              <a:rPr lang="en-US" noProof="0"/>
              <a:t>Page </a:t>
            </a:r>
            <a:fld id="{15EBE321-CBB1-4E91-BD14-37C8D44326FB}" type="slidenum">
              <a:rPr lang="en-US" noProof="0" smtClean="0"/>
              <a:pPr/>
              <a:t>8</a:t>
            </a:fld>
            <a:endParaRPr lang="en-US" noProof="0"/>
          </a:p>
        </p:txBody>
      </p:sp>
      <p:sp>
        <p:nvSpPr>
          <p:cNvPr id="8" name="cdtText Placeholder 10 Id11">
            <a:extLst>
              <a:ext uri="{FF2B5EF4-FFF2-40B4-BE49-F238E27FC236}">
                <a16:creationId xmlns:a16="http://schemas.microsoft.com/office/drawing/2014/main" id="{8F9BC290-A6FD-304A-AD78-3EFBDA75B9B2}"/>
              </a:ext>
            </a:extLst>
          </p:cNvPr>
          <p:cNvSpPr txBox="1">
            <a:spLocks/>
          </p:cNvSpPr>
          <p:nvPr/>
        </p:nvSpPr>
        <p:spPr bwMode="gray">
          <a:xfrm>
            <a:off x="446025" y="1441560"/>
            <a:ext cx="7128000" cy="36920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r>
              <a:rPr lang="en-US" sz="2399" b="1" dirty="0">
                <a:latin typeface="Arial"/>
                <a:ea typeface="ＭＳ Ｐゴシック"/>
                <a:cs typeface="Arial"/>
              </a:rPr>
              <a:t>Siemens solution</a:t>
            </a:r>
          </a:p>
        </p:txBody>
      </p:sp>
      <p:cxnSp>
        <p:nvCxnSpPr>
          <p:cNvPr id="10" name="Gerader Verbinder 9">
            <a:extLst>
              <a:ext uri="{FF2B5EF4-FFF2-40B4-BE49-F238E27FC236}">
                <a16:creationId xmlns:a16="http://schemas.microsoft.com/office/drawing/2014/main" id="{AD637F3D-9FB9-2850-DEE9-CB6AC9DCDC93}"/>
              </a:ext>
            </a:extLst>
          </p:cNvPr>
          <p:cNvCxnSpPr/>
          <p:nvPr/>
        </p:nvCxnSpPr>
        <p:spPr>
          <a:xfrm>
            <a:off x="406431" y="1901371"/>
            <a:ext cx="433388" cy="0"/>
          </a:xfrm>
          <a:prstGeom prst="line">
            <a:avLst/>
          </a:prstGeom>
          <a:ln w="38100" cap="flat">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E51C50BB-2FFC-3746-F21D-9FA6E603495B}"/>
              </a:ext>
            </a:extLst>
          </p:cNvPr>
          <p:cNvSpPr txBox="1"/>
          <p:nvPr/>
        </p:nvSpPr>
        <p:spPr>
          <a:xfrm>
            <a:off x="7019262" y="5845535"/>
            <a:ext cx="2751000" cy="369332"/>
          </a:xfrm>
          <a:prstGeom prst="rect">
            <a:avLst/>
          </a:prstGeom>
          <a:noFill/>
        </p:spPr>
        <p:txBody>
          <a:bodyPr wrap="square" lIns="0" tIns="0" rIns="0" bIns="0" rtlCol="0" anchor="t">
            <a:spAutoFit/>
          </a:bodyPr>
          <a:lstStyle/>
          <a:p>
            <a:pPr algn="l"/>
            <a:r>
              <a:rPr lang="en-US" sz="1200" dirty="0"/>
              <a:t>Faulty orientation programming (yellow)</a:t>
            </a:r>
          </a:p>
          <a:p>
            <a:r>
              <a:rPr lang="en-US" sz="1200" dirty="0"/>
              <a:t>leads to feed rate dips.</a:t>
            </a:r>
            <a:endParaRPr lang="en-US" sz="1200" dirty="0">
              <a:cs typeface="Arial"/>
            </a:endParaRPr>
          </a:p>
        </p:txBody>
      </p:sp>
      <p:sp>
        <p:nvSpPr>
          <p:cNvPr id="18" name="Ellipse 17">
            <a:extLst>
              <a:ext uri="{FF2B5EF4-FFF2-40B4-BE49-F238E27FC236}">
                <a16:creationId xmlns:a16="http://schemas.microsoft.com/office/drawing/2014/main" id="{2D486161-7E23-7A8E-D0AE-E3109A76B14D}"/>
              </a:ext>
            </a:extLst>
          </p:cNvPr>
          <p:cNvSpPr/>
          <p:nvPr/>
        </p:nvSpPr>
        <p:spPr>
          <a:xfrm>
            <a:off x="7256818" y="4301378"/>
            <a:ext cx="1391770" cy="131254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1" name="Ellipse 20">
            <a:extLst>
              <a:ext uri="{FF2B5EF4-FFF2-40B4-BE49-F238E27FC236}">
                <a16:creationId xmlns:a16="http://schemas.microsoft.com/office/drawing/2014/main" id="{9F698547-A261-022F-D5C7-120B6D9BB8AC}"/>
              </a:ext>
            </a:extLst>
          </p:cNvPr>
          <p:cNvSpPr/>
          <p:nvPr/>
        </p:nvSpPr>
        <p:spPr>
          <a:xfrm rot="20984227">
            <a:off x="9458049" y="2696880"/>
            <a:ext cx="210757" cy="455637"/>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2" name="Ellipse 21">
            <a:extLst>
              <a:ext uri="{FF2B5EF4-FFF2-40B4-BE49-F238E27FC236}">
                <a16:creationId xmlns:a16="http://schemas.microsoft.com/office/drawing/2014/main" id="{14F77D81-C4A7-308E-F01C-6A234D89FC65}"/>
              </a:ext>
            </a:extLst>
          </p:cNvPr>
          <p:cNvSpPr/>
          <p:nvPr/>
        </p:nvSpPr>
        <p:spPr>
          <a:xfrm rot="20261092">
            <a:off x="10250492" y="2453933"/>
            <a:ext cx="294254" cy="455637"/>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3" name="Ellipse 22">
            <a:extLst>
              <a:ext uri="{FF2B5EF4-FFF2-40B4-BE49-F238E27FC236}">
                <a16:creationId xmlns:a16="http://schemas.microsoft.com/office/drawing/2014/main" id="{E8E5D12F-7D90-2796-4AD9-90F02A79C726}"/>
              </a:ext>
            </a:extLst>
          </p:cNvPr>
          <p:cNvSpPr/>
          <p:nvPr/>
        </p:nvSpPr>
        <p:spPr>
          <a:xfrm>
            <a:off x="8776371" y="2798309"/>
            <a:ext cx="255110" cy="455637"/>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4" name="Textfeld 23">
            <a:extLst>
              <a:ext uri="{FF2B5EF4-FFF2-40B4-BE49-F238E27FC236}">
                <a16:creationId xmlns:a16="http://schemas.microsoft.com/office/drawing/2014/main" id="{90E09A38-6649-D184-6BAA-9726DBBE162F}"/>
              </a:ext>
            </a:extLst>
          </p:cNvPr>
          <p:cNvSpPr txBox="1"/>
          <p:nvPr/>
        </p:nvSpPr>
        <p:spPr>
          <a:xfrm>
            <a:off x="7019262" y="3547756"/>
            <a:ext cx="4199419" cy="369332"/>
          </a:xfrm>
          <a:prstGeom prst="rect">
            <a:avLst/>
          </a:prstGeom>
          <a:noFill/>
        </p:spPr>
        <p:txBody>
          <a:bodyPr wrap="none" lIns="0" tIns="0" rIns="0" bIns="0" rtlCol="0" anchor="t">
            <a:spAutoFit/>
          </a:bodyPr>
          <a:lstStyle/>
          <a:p>
            <a:r>
              <a:rPr lang="en-US" sz="1200" dirty="0"/>
              <a:t>In spite of  using a compressor, curvature jumps usually lead </a:t>
            </a:r>
            <a:endParaRPr lang="en-US" sz="1200" dirty="0">
              <a:cs typeface="Arial"/>
            </a:endParaRPr>
          </a:p>
          <a:p>
            <a:r>
              <a:rPr lang="en-US" sz="1200" dirty="0">
                <a:cs typeface="Arial"/>
              </a:rPr>
              <a:t>to vibrations / feed rate dips.</a:t>
            </a:r>
          </a:p>
        </p:txBody>
      </p:sp>
      <p:pic>
        <p:nvPicPr>
          <p:cNvPr id="25" name="Siemens Logo">
            <a:extLst>
              <a:ext uri="{FF2B5EF4-FFF2-40B4-BE49-F238E27FC236}">
                <a16:creationId xmlns:a16="http://schemas.microsoft.com/office/drawing/2014/main" id="{DE34AEAF-B368-6385-782C-E37E779F8DF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635188" y="6418800"/>
            <a:ext cx="1152000" cy="183168"/>
          </a:xfrm>
          <a:prstGeom prst="rect">
            <a:avLst/>
          </a:prstGeom>
        </p:spPr>
      </p:pic>
      <p:sp>
        <p:nvSpPr>
          <p:cNvPr id="26" name="TextBox 16">
            <a:extLst>
              <a:ext uri="{FF2B5EF4-FFF2-40B4-BE49-F238E27FC236}">
                <a16:creationId xmlns:a16="http://schemas.microsoft.com/office/drawing/2014/main" id="{0504C75A-61D7-AC08-5611-F11508308B5A}"/>
              </a:ext>
            </a:extLst>
          </p:cNvPr>
          <p:cNvSpPr txBox="1"/>
          <p:nvPr/>
        </p:nvSpPr>
        <p:spPr>
          <a:xfrm>
            <a:off x="406431" y="2137632"/>
            <a:ext cx="5908644" cy="4029806"/>
          </a:xfrm>
          <a:prstGeom prst="rect">
            <a:avLst/>
          </a:prstGeom>
          <a:solidFill>
            <a:schemeClr val="bg2"/>
          </a:solidFill>
          <a:ln>
            <a:noFill/>
          </a:ln>
        </p:spPr>
        <p:txBody>
          <a:bodyPr vert="horz" wrap="square" lIns="108000" tIns="72000" rIns="10800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lnSpc>
                <a:spcPct val="110000"/>
              </a:lnSpc>
              <a:spcAft>
                <a:spcPct val="0"/>
              </a:spcAft>
            </a:pPr>
            <a:endParaRPr lang="en-US" sz="1199" b="0" i="0" u="none" baseline="0" dirty="0">
              <a:latin typeface="Arial"/>
              <a:ea typeface="Arial Unicode MS" panose="020B0604020202020204" pitchFamily="34" charset="-128"/>
              <a:cs typeface="Arial Unicode MS" panose="020B0604020202020204" pitchFamily="34" charset="-128"/>
            </a:endParaRPr>
          </a:p>
        </p:txBody>
      </p:sp>
      <p:sp>
        <p:nvSpPr>
          <p:cNvPr id="27" name="Gleichschenkliges Dreieck 26">
            <a:extLst>
              <a:ext uri="{FF2B5EF4-FFF2-40B4-BE49-F238E27FC236}">
                <a16:creationId xmlns:a16="http://schemas.microsoft.com/office/drawing/2014/main" id="{8EB11B06-4337-C3D3-DB3F-08F01F9FF4B1}"/>
              </a:ext>
            </a:extLst>
          </p:cNvPr>
          <p:cNvSpPr/>
          <p:nvPr/>
        </p:nvSpPr>
        <p:spPr>
          <a:xfrm rot="5400000">
            <a:off x="6133770" y="3912762"/>
            <a:ext cx="617083" cy="446314"/>
          </a:xfrm>
          <a:prstGeom prst="triangle">
            <a:avLst/>
          </a:prstGeom>
          <a:solidFill>
            <a:srgbClr val="F3F3F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11" name="cdtText Placeholder 10 Id11">
            <a:extLst>
              <a:ext uri="{FF2B5EF4-FFF2-40B4-BE49-F238E27FC236}">
                <a16:creationId xmlns:a16="http://schemas.microsoft.com/office/drawing/2014/main" id="{B017E564-D60D-FAB9-1B00-800B768F6E78}"/>
              </a:ext>
            </a:extLst>
          </p:cNvPr>
          <p:cNvSpPr txBox="1">
            <a:spLocks/>
          </p:cNvSpPr>
          <p:nvPr/>
        </p:nvSpPr>
        <p:spPr bwMode="gray">
          <a:xfrm>
            <a:off x="684135" y="2282866"/>
            <a:ext cx="5392041" cy="4029806"/>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sz="1600" b="0" i="0" dirty="0">
                <a:solidFill>
                  <a:srgbClr val="323130"/>
                </a:solidFill>
                <a:effectLst/>
                <a:latin typeface="+mj-lt"/>
              </a:rPr>
              <a:t>By using Analyze MyWorkpiece / Toolpath, the customer was able to detect errors on the workpiece from design and programming to processing on the machine, thus improving the productivity and thus the process reliability of its CNC robot. In </a:t>
            </a:r>
            <a:r>
              <a:rPr lang="en-US" sz="1600" b="0" i="0">
                <a:solidFill>
                  <a:srgbClr val="323130"/>
                </a:solidFill>
                <a:effectLst/>
                <a:latin typeface="+mj-lt"/>
              </a:rPr>
              <a:t>addition</a:t>
            </a:r>
            <a:r>
              <a:rPr lang="en-US" sz="1600">
                <a:solidFill>
                  <a:srgbClr val="323130"/>
                </a:solidFill>
                <a:latin typeface="+mj-lt"/>
              </a:rPr>
              <a:t>,</a:t>
            </a:r>
            <a:r>
              <a:rPr lang="en-US" sz="1600" b="0" i="0" dirty="0">
                <a:solidFill>
                  <a:srgbClr val="323130"/>
                </a:solidFill>
                <a:effectLst/>
                <a:latin typeface="+mj-lt"/>
              </a:rPr>
              <a:t> we were able to achieve:</a:t>
            </a:r>
          </a:p>
          <a:p>
            <a:pPr marL="285750" indent="-285750">
              <a:spcBef>
                <a:spcPts val="600"/>
              </a:spcBef>
              <a:buClr>
                <a:schemeClr val="accent1"/>
              </a:buClr>
              <a:buFont typeface="Arial" panose="020B0604020202020204" pitchFamily="34" charset="0"/>
              <a:buChar char="•"/>
            </a:pPr>
            <a:r>
              <a:rPr lang="en-US" sz="1600" b="1" i="0" dirty="0">
                <a:solidFill>
                  <a:srgbClr val="323130"/>
                </a:solidFill>
                <a:effectLst/>
                <a:latin typeface="+mj-lt"/>
              </a:rPr>
              <a:t>Faster identification </a:t>
            </a:r>
            <a:r>
              <a:rPr lang="en-US" sz="1600" i="0" dirty="0">
                <a:solidFill>
                  <a:srgbClr val="323130"/>
                </a:solidFill>
                <a:effectLst/>
                <a:latin typeface="+mj-lt"/>
              </a:rPr>
              <a:t>of problematic areas and part program features</a:t>
            </a:r>
          </a:p>
          <a:p>
            <a:pPr marL="285750" indent="-285750">
              <a:spcBef>
                <a:spcPts val="600"/>
              </a:spcBef>
              <a:buClr>
                <a:schemeClr val="accent1"/>
              </a:buClr>
              <a:buFont typeface="Arial" panose="020B0604020202020204" pitchFamily="34" charset="0"/>
              <a:buChar char="•"/>
            </a:pPr>
            <a:r>
              <a:rPr lang="en-US" sz="1600" b="1" i="0" dirty="0">
                <a:solidFill>
                  <a:srgbClr val="323130"/>
                </a:solidFill>
                <a:effectLst/>
                <a:latin typeface="+mj-lt"/>
              </a:rPr>
              <a:t>Better quality control</a:t>
            </a:r>
            <a:r>
              <a:rPr lang="en-US" sz="1600" i="0" dirty="0">
                <a:solidFill>
                  <a:srgbClr val="323130"/>
                </a:solidFill>
                <a:effectLst/>
                <a:latin typeface="+mj-lt"/>
              </a:rPr>
              <a:t> of the process</a:t>
            </a:r>
          </a:p>
          <a:p>
            <a:pPr marL="285750" indent="-285750">
              <a:spcBef>
                <a:spcPts val="600"/>
              </a:spcBef>
              <a:buClr>
                <a:schemeClr val="accent1"/>
              </a:buClr>
              <a:buFont typeface="Arial" panose="020B0604020202020204" pitchFamily="34" charset="0"/>
              <a:buChar char="•"/>
            </a:pPr>
            <a:r>
              <a:rPr lang="en-US" sz="1600" dirty="0">
                <a:solidFill>
                  <a:srgbClr val="323130"/>
                </a:solidFill>
                <a:latin typeface="+mj-lt"/>
              </a:rPr>
              <a:t>T</a:t>
            </a:r>
            <a:r>
              <a:rPr lang="en-US" sz="1600" i="0" dirty="0">
                <a:solidFill>
                  <a:srgbClr val="323130"/>
                </a:solidFill>
                <a:effectLst/>
                <a:latin typeface="+mj-lt"/>
              </a:rPr>
              <a:t>he ability to develop NX CAM Multi Axis Additive in a way to </a:t>
            </a:r>
            <a:r>
              <a:rPr lang="en-US" sz="1600" b="1" i="0" dirty="0">
                <a:solidFill>
                  <a:srgbClr val="323130"/>
                </a:solidFill>
                <a:effectLst/>
                <a:latin typeface="+mj-lt"/>
              </a:rPr>
              <a:t>better interface </a:t>
            </a:r>
            <a:r>
              <a:rPr lang="en-US" sz="1600" i="0" dirty="0">
                <a:solidFill>
                  <a:srgbClr val="323130"/>
                </a:solidFill>
                <a:effectLst/>
                <a:latin typeface="+mj-lt"/>
              </a:rPr>
              <a:t>with the RMR Controller</a:t>
            </a:r>
          </a:p>
          <a:p>
            <a:pPr marL="285750" indent="-285750">
              <a:spcBef>
                <a:spcPts val="600"/>
              </a:spcBef>
              <a:buClr>
                <a:schemeClr val="accent1"/>
              </a:buClr>
              <a:buFont typeface="Arial" panose="020B0604020202020204" pitchFamily="34" charset="0"/>
              <a:buChar char="•"/>
            </a:pPr>
            <a:r>
              <a:rPr lang="en-US" sz="1600" b="1" dirty="0">
                <a:solidFill>
                  <a:srgbClr val="323130"/>
                </a:solidFill>
                <a:latin typeface="+mj-lt"/>
              </a:rPr>
              <a:t>M</a:t>
            </a:r>
            <a:r>
              <a:rPr lang="en-US" sz="1600" b="1" dirty="0">
                <a:solidFill>
                  <a:srgbClr val="323130"/>
                </a:solidFill>
                <a:effectLst/>
                <a:latin typeface="+mj-lt"/>
              </a:rPr>
              <a:t>ore robust CAD/CAM Setup </a:t>
            </a:r>
            <a:r>
              <a:rPr lang="en-US" sz="1600" i="0" dirty="0">
                <a:solidFill>
                  <a:srgbClr val="323130"/>
                </a:solidFill>
                <a:effectLst/>
                <a:latin typeface="+mj-lt"/>
              </a:rPr>
              <a:t>in Siemens NX and NC parametrization. </a:t>
            </a:r>
          </a:p>
          <a:p>
            <a:pPr>
              <a:spcBef>
                <a:spcPts val="600"/>
              </a:spcBef>
            </a:pPr>
            <a:endParaRPr lang="en-US" sz="1600" b="0" i="0" dirty="0">
              <a:solidFill>
                <a:srgbClr val="323130"/>
              </a:solidFill>
              <a:effectLst/>
              <a:latin typeface="+mj-lt"/>
            </a:endParaRPr>
          </a:p>
          <a:p>
            <a:pPr>
              <a:spcBef>
                <a:spcPts val="600"/>
              </a:spcBef>
            </a:pPr>
            <a:endParaRPr lang="en-US" sz="1600" dirty="0">
              <a:solidFill>
                <a:srgbClr val="323130"/>
              </a:solidFill>
              <a:latin typeface="+mj-lt"/>
              <a:cs typeface="Arial"/>
            </a:endParaRPr>
          </a:p>
          <a:p>
            <a:pPr>
              <a:spcBef>
                <a:spcPts val="600"/>
              </a:spcBef>
            </a:pPr>
            <a:endParaRPr lang="en-US" sz="1600" dirty="0">
              <a:latin typeface="+mj-lt"/>
              <a:cs typeface="Arial"/>
            </a:endParaRPr>
          </a:p>
        </p:txBody>
      </p:sp>
    </p:spTree>
    <p:extLst>
      <p:ext uri="{BB962C8B-B14F-4D97-AF65-F5344CB8AC3E}">
        <p14:creationId xmlns:p14="http://schemas.microsoft.com/office/powerpoint/2010/main" val="1612565348"/>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kt 116" hidden="1"/>
          <p:cNvGraphicFramePr>
            <a:graphicFrameLocks noChangeAspect="1"/>
          </p:cNvGraphicFramePr>
          <p:nvPr>
            <p:custDataLst>
              <p:tags r:id="rId2"/>
            </p:custDataLst>
          </p:nvPr>
        </p:nvGraphicFramePr>
        <p:xfrm>
          <a:off x="1588" y="3373"/>
          <a:ext cx="1586" cy="1586"/>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117" name="Objekt 116" hidden="1"/>
                      <p:cNvPicPr/>
                      <p:nvPr/>
                    </p:nvPicPr>
                    <p:blipFill>
                      <a:blip r:embed="rId7"/>
                      <a:stretch>
                        <a:fillRect/>
                      </a:stretch>
                    </p:blipFill>
                    <p:spPr>
                      <a:xfrm>
                        <a:off x="1588" y="3373"/>
                        <a:ext cx="1586" cy="1586"/>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231345E-4B32-4521-87C7-38D6F9B546A0}"/>
              </a:ext>
            </a:extLst>
          </p:cNvPr>
          <p:cNvSpPr/>
          <p:nvPr>
            <p:custDataLst>
              <p:tags r:id="rId3"/>
            </p:custDataLst>
          </p:nvPr>
        </p:nvSpPr>
        <p:spPr bwMode="gray">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199" b="1">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bwMode="gray"/>
        <p:txBody>
          <a:bodyPr vert="horz"/>
          <a:lstStyle/>
          <a:p>
            <a:r>
              <a:rPr lang="de-DE"/>
              <a:t>Analyze MyWorkpiece /Toolpath, Chiron Group SE - </a:t>
            </a:r>
            <a:br>
              <a:rPr lang="de-DE"/>
            </a:br>
            <a:r>
              <a:rPr lang="de-DE" sz="2000">
                <a:latin typeface="Arial" panose="020B0604020202020204" pitchFamily="34" charset="0"/>
              </a:rPr>
              <a:t>Improve process stability </a:t>
            </a:r>
            <a:r>
              <a:rPr lang="de-DE">
                <a:latin typeface="Arial" panose="020B0604020202020204" pitchFamily="34" charset="0"/>
              </a:rPr>
              <a:t>and reduce cycle times</a:t>
            </a:r>
            <a:endParaRPr lang="de-DE" b="0"/>
          </a:p>
        </p:txBody>
      </p:sp>
      <p:sp>
        <p:nvSpPr>
          <p:cNvPr id="125" name="cdtText Placeholder 10 Id11">
            <a:extLst>
              <a:ext uri="{FF2B5EF4-FFF2-40B4-BE49-F238E27FC236}">
                <a16:creationId xmlns:a16="http://schemas.microsoft.com/office/drawing/2014/main" id="{7978D5EE-A1A8-4A0D-A761-4ACC5629442E}"/>
              </a:ext>
            </a:extLst>
          </p:cNvPr>
          <p:cNvSpPr txBox="1">
            <a:spLocks/>
          </p:cNvSpPr>
          <p:nvPr/>
        </p:nvSpPr>
        <p:spPr bwMode="gray">
          <a:xfrm>
            <a:off x="411163" y="1440147"/>
            <a:ext cx="7128000" cy="36920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r>
              <a:rPr lang="de-DE" sz="2399" b="1">
                <a:latin typeface="Arial"/>
                <a:ea typeface="ＭＳ Ｐゴシック"/>
                <a:cs typeface="Arial"/>
              </a:rPr>
              <a:t>The Siemens solution</a:t>
            </a:r>
          </a:p>
        </p:txBody>
      </p:sp>
      <p:cxnSp>
        <p:nvCxnSpPr>
          <p:cNvPr id="127" name="Gerader Verbinder 126">
            <a:extLst>
              <a:ext uri="{FF2B5EF4-FFF2-40B4-BE49-F238E27FC236}">
                <a16:creationId xmlns:a16="http://schemas.microsoft.com/office/drawing/2014/main" id="{CC33913C-BDD9-47B2-A0A2-BE44284935B1}"/>
              </a:ext>
            </a:extLst>
          </p:cNvPr>
          <p:cNvCxnSpPr/>
          <p:nvPr/>
        </p:nvCxnSpPr>
        <p:spPr>
          <a:xfrm>
            <a:off x="411163" y="1895064"/>
            <a:ext cx="433388" cy="0"/>
          </a:xfrm>
          <a:prstGeom prst="line">
            <a:avLst/>
          </a:prstGeom>
          <a:ln w="38100" cap="flat">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4" name="Rechteck 13">
            <a:extLst>
              <a:ext uri="{FF2B5EF4-FFF2-40B4-BE49-F238E27FC236}">
                <a16:creationId xmlns:a16="http://schemas.microsoft.com/office/drawing/2014/main" id="{55CFEC6D-F26E-4630-9F86-B4CA2DC0AFD7}"/>
              </a:ext>
            </a:extLst>
          </p:cNvPr>
          <p:cNvSpPr/>
          <p:nvPr/>
        </p:nvSpPr>
        <p:spPr>
          <a:xfrm>
            <a:off x="6116579" y="2442391"/>
            <a:ext cx="5557699" cy="37250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5" name="Rechteck 14">
            <a:extLst>
              <a:ext uri="{FF2B5EF4-FFF2-40B4-BE49-F238E27FC236}">
                <a16:creationId xmlns:a16="http://schemas.microsoft.com/office/drawing/2014/main" id="{F823EE76-1908-45A3-A100-931E61125FC9}"/>
              </a:ext>
            </a:extLst>
          </p:cNvPr>
          <p:cNvSpPr/>
          <p:nvPr/>
        </p:nvSpPr>
        <p:spPr>
          <a:xfrm>
            <a:off x="455520" y="2442392"/>
            <a:ext cx="5255712" cy="3791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6" name="cdtText Placeholder 10 Id11">
            <a:extLst>
              <a:ext uri="{FF2B5EF4-FFF2-40B4-BE49-F238E27FC236}">
                <a16:creationId xmlns:a16="http://schemas.microsoft.com/office/drawing/2014/main" id="{FB797D11-E86F-4F1D-A6E8-7E5CE79CB037}"/>
              </a:ext>
            </a:extLst>
          </p:cNvPr>
          <p:cNvSpPr txBox="1">
            <a:spLocks/>
          </p:cNvSpPr>
          <p:nvPr/>
        </p:nvSpPr>
        <p:spPr bwMode="gray">
          <a:xfrm>
            <a:off x="673200" y="2708461"/>
            <a:ext cx="4669198" cy="3274995"/>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375"/>
              </a:spcBef>
              <a:spcAft>
                <a:spcPts val="375"/>
              </a:spcAft>
              <a:buFont typeface="Arial" panose="020B0604020202020204" pitchFamily="34" charset="0"/>
              <a:buChar char="•"/>
            </a:pPr>
            <a:r>
              <a:rPr lang="de-DE" sz="1600">
                <a:effectLst/>
                <a:latin typeface="+mj-lt"/>
                <a:ea typeface="Times New Roman" panose="02020603050405020304" pitchFamily="18" charset="0"/>
              </a:rPr>
              <a:t>3D visualization of </a:t>
            </a:r>
            <a:r>
              <a:rPr lang="de-DE" sz="1600">
                <a:latin typeface="+mj-lt"/>
                <a:ea typeface="Times New Roman" panose="02020603050405020304" pitchFamily="18" charset="0"/>
              </a:rPr>
              <a:t>the NC part program and geometry </a:t>
            </a:r>
            <a:r>
              <a:rPr lang="de-DE" sz="1600">
                <a:latin typeface="+mj-lt"/>
                <a:ea typeface="SimSun" panose="02010600030101010101" pitchFamily="2" charset="-122"/>
              </a:rPr>
              <a:t>files</a:t>
            </a:r>
            <a:endParaRPr lang="de-DE" sz="1600">
              <a:effectLst/>
              <a:latin typeface="+mj-lt"/>
              <a:ea typeface="SimSun" panose="02010600030101010101" pitchFamily="2" charset="-122"/>
            </a:endParaRPr>
          </a:p>
          <a:p>
            <a:pPr marL="285750" indent="-285750">
              <a:spcBef>
                <a:spcPts val="375"/>
              </a:spcBef>
              <a:spcAft>
                <a:spcPts val="375"/>
              </a:spcAft>
              <a:buFont typeface="Arial" panose="020B0604020202020204" pitchFamily="34" charset="0"/>
              <a:buChar char="•"/>
            </a:pPr>
            <a:r>
              <a:rPr lang="de-DE" sz="1600">
                <a:latin typeface="+mj-lt"/>
                <a:ea typeface="SimSun" panose="02010600030101010101" pitchFamily="2" charset="-122"/>
              </a:rPr>
              <a:t>Analysis of point distribution, curvatures and orientations of the TCP path in the part program. </a:t>
            </a:r>
          </a:p>
          <a:p>
            <a:pPr marL="285750" indent="-285750">
              <a:spcBef>
                <a:spcPts val="375"/>
              </a:spcBef>
              <a:spcAft>
                <a:spcPts val="375"/>
              </a:spcAft>
              <a:buFont typeface="Arial" panose="020B0604020202020204" pitchFamily="34" charset="0"/>
              <a:buChar char="•"/>
            </a:pPr>
            <a:r>
              <a:rPr lang="de-DE" sz="1600">
                <a:latin typeface="+mj-lt"/>
                <a:ea typeface="SimSun" panose="02010600030101010101" pitchFamily="2" charset="-122"/>
              </a:rPr>
              <a:t>Advanced checking of contour accuracies and feed rate</a:t>
            </a:r>
            <a:endParaRPr lang="de-DE" sz="1600">
              <a:effectLst/>
              <a:latin typeface="+mj-lt"/>
              <a:ea typeface="SimSun" panose="02010600030101010101" pitchFamily="2" charset="-122"/>
            </a:endParaRPr>
          </a:p>
          <a:p>
            <a:pPr marL="285750" indent="-285750">
              <a:spcBef>
                <a:spcPts val="375"/>
              </a:spcBef>
              <a:spcAft>
                <a:spcPts val="375"/>
              </a:spcAft>
              <a:buFont typeface="Arial" panose="020B0604020202020204" pitchFamily="34" charset="0"/>
              <a:buChar char="•"/>
            </a:pPr>
            <a:r>
              <a:rPr lang="de-DE" sz="1600">
                <a:latin typeface="+mj-lt"/>
                <a:ea typeface="SimSun" panose="02010600030101010101" pitchFamily="2" charset="-122"/>
              </a:rPr>
              <a:t>Analysis of potential causes of surface defects as well as derived NC </a:t>
            </a:r>
            <a:r>
              <a:rPr lang="de-DE" sz="1600">
                <a:effectLst/>
                <a:latin typeface="+mj-lt"/>
                <a:ea typeface="SimSun" panose="02010600030101010101" pitchFamily="2" charset="-122"/>
              </a:rPr>
              <a:t>optimizations   </a:t>
            </a:r>
            <a:endParaRPr lang="de-DE" sz="1600">
              <a:effectLst/>
              <a:latin typeface="+mj-lt"/>
              <a:ea typeface="Times New Roman" panose="02020603050405020304" pitchFamily="18" charset="0"/>
            </a:endParaRPr>
          </a:p>
        </p:txBody>
      </p:sp>
      <p:sp>
        <p:nvSpPr>
          <p:cNvPr id="17" name="cdtText Placeholder 10 Id11">
            <a:extLst>
              <a:ext uri="{FF2B5EF4-FFF2-40B4-BE49-F238E27FC236}">
                <a16:creationId xmlns:a16="http://schemas.microsoft.com/office/drawing/2014/main" id="{06B2F4DF-D567-45C5-A705-18C26CF11558}"/>
              </a:ext>
            </a:extLst>
          </p:cNvPr>
          <p:cNvSpPr txBox="1">
            <a:spLocks/>
          </p:cNvSpPr>
          <p:nvPr/>
        </p:nvSpPr>
        <p:spPr bwMode="gray">
          <a:xfrm>
            <a:off x="6359230" y="2691222"/>
            <a:ext cx="5062385" cy="3713923"/>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375"/>
              </a:spcBef>
              <a:spcAft>
                <a:spcPts val="375"/>
              </a:spcAft>
              <a:buFont typeface="Arial" panose="020B0604020202020204" pitchFamily="34" charset="0"/>
              <a:buChar char="•"/>
            </a:pPr>
            <a:r>
              <a:rPr lang="de-DE" sz="1600">
                <a:effectLst/>
                <a:latin typeface="+mj-lt"/>
                <a:ea typeface="Times New Roman" panose="02020603050405020304" pitchFamily="18" charset="0"/>
              </a:rPr>
              <a:t>3D visualization of the </a:t>
            </a:r>
            <a:r>
              <a:rPr lang="de-DE" sz="1600">
                <a:latin typeface="+mj-lt"/>
                <a:ea typeface="Times New Roman" panose="02020603050405020304" pitchFamily="18" charset="0"/>
              </a:rPr>
              <a:t>NC trace after </a:t>
            </a:r>
            <a:r>
              <a:rPr lang="de-DE" sz="1600" err="1">
                <a:latin typeface="+mj-lt"/>
                <a:ea typeface="Times New Roman" panose="02020603050405020304" pitchFamily="18" charset="0"/>
              </a:rPr>
              <a:t>interpolator/compressors </a:t>
            </a:r>
            <a:r>
              <a:rPr lang="de-DE" sz="1600">
                <a:latin typeface="+mj-lt"/>
                <a:ea typeface="Times New Roman" panose="02020603050405020304" pitchFamily="18" charset="0"/>
              </a:rPr>
              <a:t>(SINUMERIK HMI Trace)</a:t>
            </a:r>
            <a:endParaRPr lang="de-DE" sz="1600">
              <a:effectLst/>
              <a:latin typeface="+mj-lt"/>
              <a:ea typeface="SimSun" panose="02010600030101010101" pitchFamily="2" charset="-122"/>
            </a:endParaRPr>
          </a:p>
          <a:p>
            <a:pPr marL="285750" indent="-285750">
              <a:spcBef>
                <a:spcPts val="375"/>
              </a:spcBef>
              <a:spcAft>
                <a:spcPts val="375"/>
              </a:spcAft>
              <a:buFont typeface="Arial" panose="020B0604020202020204" pitchFamily="34" charset="0"/>
              <a:buChar char="•"/>
            </a:pPr>
            <a:r>
              <a:rPr lang="de-DE" sz="1600">
                <a:effectLst/>
                <a:latin typeface="+mj-lt"/>
                <a:ea typeface="Times New Roman" panose="02020603050405020304" pitchFamily="18" charset="0"/>
              </a:rPr>
              <a:t>3D visualization of virtual NC output </a:t>
            </a:r>
            <a:r>
              <a:rPr lang="de-DE" sz="1600">
                <a:effectLst/>
                <a:latin typeface="+mj-lt"/>
                <a:ea typeface="SimSun" panose="02010600030101010101" pitchFamily="2" charset="-122"/>
              </a:rPr>
              <a:t>(</a:t>
            </a:r>
            <a:r>
              <a:rPr lang="de-DE" sz="1600">
                <a:effectLst/>
                <a:latin typeface="+mj-lt"/>
                <a:ea typeface="Times New Roman" panose="02020603050405020304" pitchFamily="18" charset="0"/>
              </a:rPr>
              <a:t>SINUMERIK HMI + Run MyVirtual Machine</a:t>
            </a:r>
            <a:r>
              <a:rPr lang="de-DE" sz="1600">
                <a:effectLst/>
                <a:latin typeface="+mj-lt"/>
                <a:ea typeface="SimSun" panose="02010600030101010101" pitchFamily="2" charset="-122"/>
              </a:rPr>
              <a:t>)</a:t>
            </a:r>
            <a:endParaRPr lang="de-DE" sz="1600">
              <a:latin typeface="+mj-lt"/>
              <a:ea typeface="SimSun" panose="02010600030101010101" pitchFamily="2" charset="-122"/>
            </a:endParaRPr>
          </a:p>
          <a:p>
            <a:pPr marL="285750" indent="-285750">
              <a:spcBef>
                <a:spcPts val="375"/>
              </a:spcBef>
              <a:spcAft>
                <a:spcPts val="375"/>
              </a:spcAft>
              <a:buFont typeface="Arial" panose="020B0604020202020204" pitchFamily="34" charset="0"/>
              <a:buChar char="•"/>
            </a:pPr>
            <a:r>
              <a:rPr lang="de-DE" sz="1600" b="0" i="0">
                <a:solidFill>
                  <a:srgbClr val="323130"/>
                </a:solidFill>
                <a:effectLst/>
                <a:latin typeface="+mj-lt"/>
              </a:rPr>
              <a:t>Generated 3D visualization models allow the analysis and optimization of the actual machining process of the workpiece (position, velocity, acceleration, performance indicators) to eliminate problems with the workpiece quality.</a:t>
            </a:r>
          </a:p>
          <a:p>
            <a:pPr marL="285750" indent="-285750">
              <a:spcBef>
                <a:spcPts val="375"/>
              </a:spcBef>
              <a:spcAft>
                <a:spcPts val="375"/>
              </a:spcAft>
              <a:buFont typeface="Arial" panose="020B0604020202020204" pitchFamily="34" charset="0"/>
              <a:buChar char="•"/>
            </a:pPr>
            <a:r>
              <a:rPr lang="de-DE" sz="1600">
                <a:effectLst/>
                <a:latin typeface="+mj-lt"/>
                <a:ea typeface="SimSun" panose="02010600030101010101" pitchFamily="2" charset="-122"/>
              </a:rPr>
              <a:t>Toolpath color </a:t>
            </a:r>
            <a:r>
              <a:rPr lang="de-DE" sz="1600">
                <a:latin typeface="+mj-lt"/>
                <a:ea typeface="SimSun" panose="02010600030101010101" pitchFamily="2" charset="-122"/>
              </a:rPr>
              <a:t>coding</a:t>
            </a:r>
            <a:r>
              <a:rPr lang="de-DE" sz="1600">
                <a:effectLst/>
                <a:latin typeface="+mj-lt"/>
                <a:ea typeface="SimSun" panose="02010600030101010101" pitchFamily="2" charset="-122"/>
              </a:rPr>
              <a:t>, </a:t>
            </a:r>
            <a:r>
              <a:rPr lang="de-DE" sz="1600">
                <a:effectLst/>
                <a:latin typeface="+mj-lt"/>
                <a:ea typeface="Times New Roman" panose="02020603050405020304" pitchFamily="18" charset="0"/>
              </a:rPr>
              <a:t>3D </a:t>
            </a:r>
            <a:r>
              <a:rPr lang="de-DE" sz="1600">
                <a:effectLst/>
                <a:latin typeface="+mj-lt"/>
                <a:ea typeface="SimSun" panose="02010600030101010101" pitchFamily="2" charset="-122"/>
              </a:rPr>
              <a:t>measurement functions, surface rendering</a:t>
            </a:r>
            <a:endParaRPr lang="de-DE" sz="1600">
              <a:effectLst/>
              <a:latin typeface="+mj-lt"/>
              <a:ea typeface="Times New Roman" panose="02020603050405020304" pitchFamily="18" charset="0"/>
            </a:endParaRPr>
          </a:p>
        </p:txBody>
      </p:sp>
      <p:sp>
        <p:nvSpPr>
          <p:cNvPr id="18" name="Rechteck 17">
            <a:extLst>
              <a:ext uri="{FF2B5EF4-FFF2-40B4-BE49-F238E27FC236}">
                <a16:creationId xmlns:a16="http://schemas.microsoft.com/office/drawing/2014/main" id="{9AC9ECBD-8BDF-456D-ACFC-D0420C5E453B}"/>
              </a:ext>
            </a:extLst>
          </p:cNvPr>
          <p:cNvSpPr/>
          <p:nvPr/>
        </p:nvSpPr>
        <p:spPr>
          <a:xfrm>
            <a:off x="455520" y="2062862"/>
            <a:ext cx="5255712" cy="5042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de-DE" b="1"/>
              <a:t>Before manufacturing</a:t>
            </a:r>
          </a:p>
        </p:txBody>
      </p:sp>
      <p:sp>
        <p:nvSpPr>
          <p:cNvPr id="19" name="Rechteck 18">
            <a:extLst>
              <a:ext uri="{FF2B5EF4-FFF2-40B4-BE49-F238E27FC236}">
                <a16:creationId xmlns:a16="http://schemas.microsoft.com/office/drawing/2014/main" id="{A6FCD2F1-E8D8-4002-8AEE-7401886127F9}"/>
              </a:ext>
            </a:extLst>
          </p:cNvPr>
          <p:cNvSpPr/>
          <p:nvPr/>
        </p:nvSpPr>
        <p:spPr>
          <a:xfrm>
            <a:off x="6116579" y="2062235"/>
            <a:ext cx="5557699" cy="5042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r>
              <a:rPr lang="de-DE" b="1"/>
              <a:t>After manufacturing</a:t>
            </a:r>
          </a:p>
        </p:txBody>
      </p:sp>
      <p:sp>
        <p:nvSpPr>
          <p:cNvPr id="3" name="Fußzeilenplatzhalter 7">
            <a:extLst>
              <a:ext uri="{FF2B5EF4-FFF2-40B4-BE49-F238E27FC236}">
                <a16:creationId xmlns:a16="http://schemas.microsoft.com/office/drawing/2014/main" id="{70049529-EB44-F4E3-563A-584FE322D91F}"/>
              </a:ext>
            </a:extLst>
          </p:cNvPr>
          <p:cNvSpPr>
            <a:spLocks noGrp="1"/>
          </p:cNvSpPr>
          <p:nvPr>
            <p:ph type="ftr" sz="quarter" idx="10"/>
          </p:nvPr>
        </p:nvSpPr>
        <p:spPr>
          <a:xfrm>
            <a:off x="1059160" y="6310800"/>
            <a:ext cx="9216000" cy="547200"/>
          </a:xfrm>
        </p:spPr>
        <p:txBody>
          <a:bodyPr/>
          <a:lstStyle/>
          <a:p>
            <a:pPr>
              <a:lnSpc>
                <a:spcPct val="100000"/>
              </a:lnSpc>
            </a:pPr>
            <a:r>
              <a:rPr lang="en-US" noProof="0"/>
              <a:t>Unrestricted | © Siemens 2023 | MACHINUM</a:t>
            </a:r>
          </a:p>
        </p:txBody>
      </p:sp>
      <p:sp>
        <p:nvSpPr>
          <p:cNvPr id="7" name="Foliennummernplatzhalter 8">
            <a:extLst>
              <a:ext uri="{FF2B5EF4-FFF2-40B4-BE49-F238E27FC236}">
                <a16:creationId xmlns:a16="http://schemas.microsoft.com/office/drawing/2014/main" id="{CB1BBC6D-2835-A563-8A9C-18E7186E1C8F}"/>
              </a:ext>
            </a:extLst>
          </p:cNvPr>
          <p:cNvSpPr>
            <a:spLocks noGrp="1"/>
          </p:cNvSpPr>
          <p:nvPr>
            <p:ph type="sldNum" sz="quarter" idx="11"/>
          </p:nvPr>
        </p:nvSpPr>
        <p:spPr>
          <a:xfrm>
            <a:off x="411162" y="6310800"/>
            <a:ext cx="648000" cy="547200"/>
          </a:xfrm>
        </p:spPr>
        <p:txBody>
          <a:bodyPr/>
          <a:lstStyle/>
          <a:p>
            <a:r>
              <a:rPr lang="en-US" noProof="0"/>
              <a:t>Page </a:t>
            </a:r>
            <a:fld id="{15EBE321-CBB1-4E91-BD14-37C8D44326FB}" type="slidenum">
              <a:rPr lang="en-US" noProof="0" smtClean="0"/>
              <a:t>9</a:t>
            </a:fld>
            <a:endParaRPr lang="en-US" noProof="0"/>
          </a:p>
        </p:txBody>
      </p:sp>
    </p:spTree>
    <p:custDataLst>
      <p:tags r:id="rId1"/>
    </p:custDataLst>
    <p:extLst>
      <p:ext uri="{BB962C8B-B14F-4D97-AF65-F5344CB8AC3E}">
        <p14:creationId xmlns:p14="http://schemas.microsoft.com/office/powerpoint/2010/main" val="3697132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wQASwwAAAAAAAAAAAAAIAD///////////////8AAAD///////////////8DAAAAAgD///////////////////////////////////////////////////////////////////////////////////////////////////////////////////////////////////////////////////////////////////////////////////////////////////////////////////////////////////////////////////////////////////////////////////////////////////////////////////////////////////////////////////////////////////////////////////////////////////////////////////////////////////////////////////////////////////////////////////////////////////////////////8BACAA////////////////AAAO////////AwAAAAMA////////////////////////////////////////////////////////////////////////////////////////////////////////////////////////////////////////////////////////////////////////////////////////////////////////////////////////////////////////////////////////////////////////////////////////////////////////////////////////////////////////////////////////////////////////////////////////////////////////////////////////////////////////////////////////////////////////////////////////////////////////////////////////AgABAP///////wQAAAACABAAC1AxOztFmxdBhgVerHnUxdQFAAAAAAADAAAAAAADAAAAAwADAAEA////////BAAAAAMAEAALGIowtfIL7E+WOIF2yr+4z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FAxOztFmxdBhgVerHnUxdQDRGF0YQAbAAAABExpbmtlZFNoYXBlRGF0YQAFAAAAAAACTmFtZQAZAAAATGlua2VkU2hhcGVzRGF0YVByb3BlcnR5ABBWZXJzaW9uAAAAAAAJTGFzdFdyaXRlAOBzABl6AQAAAAEA/////50AnQAAAAVfaWQAEAAAAAQYijC18gvsT5Y4gXbKv7jNA0RhdGEAKgAAAAhQcmVzZW50YXRpb25TY2FubmVkRm9yTGlua2VkU2hhcGVzAAEAAk5hbWUAJAAAAExpbmtlZFNoYXBlUHJlc2VudGF0aW9uU2V0dGluZ3NEYXRhABBWZXJzaW9uAAAAAAAJTGFzdFdyaXRlAB90AB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sUVRl8jpPClCMG505o7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6U8ZhNr.seU3_c4RMNyKg"/>
</p:tagLst>
</file>

<file path=ppt/tags/tag73.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6U8ZhNr.seU3_c4RMNyKg"/>
</p:tagLst>
</file>

<file path=ppt/tags/tag76.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 name="MIO_GUID" val="a9159956-4fa6-4876-ba1d-44692df7ff5c"/>
  <p:tag name="MIO_STRING_IGNORE_CHECKSUM_FOR_NEXT_SAVE" val="False"/>
  <p:tag name="MIO_EK" val="0"/>
  <p:tag name="MIO_EKGUID" val="fb735678-4151-4e81-8633-f9e2b0ca6ee4"/>
  <p:tag name="MIO_UPDATE" val="True"/>
  <p:tag name="MIO_VERSION" val="04.09.2017 11:31:16"/>
  <p:tag name="MIO_DBID" val="598A5C07-C27D-430B-A8FC-FA667BE665A4"/>
  <p:tag name="MIO_LASTDOWNLOADED" val="06.09.2017 14:47:19"/>
  <p:tag name="MIO_OBJECTNAME" val="Headline, Arial Bold, 20 pt, lorem ipsum dolor est"/>
  <p:tag name="MIO_LASTEDITORNAME" val="Maximilian Berg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22.759"/>
  <p:tag name="ISPRING_SLIDE_ID_2" val="{7788F19B-3A03-4734-9FFD-2634F1E317F8}"/>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PXbBht.SRWUA0G192r4MA"/>
</p:tagLst>
</file>

<file path=ppt/tags/tag82.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22.759"/>
  <p:tag name="ISPRING_SLIDE_ID_2" val="{7788F19B-3A03-4734-9FFD-2634F1E317F8}"/>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PXbBht.SRWUA0G192r4MA"/>
</p:tagLst>
</file>

<file path=ppt/tags/tag85.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6U8ZhNr.seU3_c4RMNyKg"/>
</p:tagLst>
</file>

<file path=ppt/tags/tag88.xml><?xml version="1.0" encoding="utf-8"?>
<p:tagLst xmlns:a="http://schemas.openxmlformats.org/drawingml/2006/main" xmlns:r="http://schemas.openxmlformats.org/officeDocument/2006/relationships" xmlns:p="http://schemas.openxmlformats.org/presentationml/2006/main">
  <p:tag name="GENSWF_ADVANCE_TIME" val="5"/>
  <p:tag name="ISPRING_CUSTOM_TIMING_USED" val="1"/>
  <p:tag name="ISPRING_SLIDE_ID_2" val="{C2638B46-5395-4166-A5DF-FA2B9EC86EF4}"/>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
  <p:tag name="MIO_EK_DESIGN" val="579031"/>
  <p:tag name="MIO_VERSION_DESIGN" val="27.01.2016 18:31:06"/>
  <p:tag name="MIO_DBID_DESIGN" val="598A5C07-C27D-430B-A8FC-FA667BE665A4"/>
  <p:tag name="CDT_INTERSECT_SLIDE" val="False"/>
  <p:tag name="CDT_NAVBARONTHISSLIDE" val="Tru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wUSug7DQtep9pfhiZDSfw"/>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sie-ppt-O365-16x9-standard-deu-v3-2" id="{1A67353E-D554-4261-B230-7EA4DA58AF10}" vid="{3DF4DD95-6279-4042-A557-6041DCFA574E}"/>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4ppTags>
  <Name>One object (small)</Name>
  <PpLayout>16</PpLayout>
  <Index>11</Index>
</p4ppTags>
</file>

<file path=customXml/item2.xml><?xml version="1.0" encoding="utf-8"?>
<p4ppTags>
  <Name>Free Content</Name>
  <PpLayout>11</PpLayout>
  <Index>9</Index>
</p4ppTags>
</file>

<file path=customXml/itemProps1.xml><?xml version="1.0" encoding="utf-8"?>
<ds:datastoreItem xmlns:ds="http://schemas.openxmlformats.org/officeDocument/2006/customXml" ds:itemID="{1618AA06-B22E-4D19-9680-0D7830426729}">
  <ds:schemaRefs/>
</ds:datastoreItem>
</file>

<file path=customXml/itemProps2.xml><?xml version="1.0" encoding="utf-8"?>
<ds:datastoreItem xmlns:ds="http://schemas.openxmlformats.org/officeDocument/2006/customXml" ds:itemID="{D8097D0C-BE3E-4AEC-9593-65CFCCB19297}">
  <ds:schemaRefs/>
</ds:datastoreItem>
</file>

<file path=docProps/app.xml><?xml version="1.0" encoding="utf-8"?>
<Properties xmlns="http://schemas.openxmlformats.org/officeDocument/2006/extended-properties" xmlns:vt="http://schemas.openxmlformats.org/officeDocument/2006/docPropsVTypes">
  <Template>Content</Template>
  <TotalTime>0</TotalTime>
  <Words>1931</Words>
  <Application>Microsoft Office PowerPoint</Application>
  <PresentationFormat>Breitbild</PresentationFormat>
  <Paragraphs>154</Paragraphs>
  <Slides>13</Slides>
  <Notes>13</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19" baseType="lpstr">
      <vt:lpstr>Arial</vt:lpstr>
      <vt:lpstr>Arial (Textkörper)</vt:lpstr>
      <vt:lpstr>Calibri</vt:lpstr>
      <vt:lpstr>Wingdings</vt:lpstr>
      <vt:lpstr>Siemens 2020</vt:lpstr>
      <vt:lpstr>think-cell Folie</vt:lpstr>
      <vt:lpstr>PowerPoint-Präsentation</vt:lpstr>
      <vt:lpstr>Analyze MyWorkpiece  /Toolpath, Chiron Group SE –  Process optimization through part program analysis and the digital twin</vt:lpstr>
      <vt:lpstr>Analyze MyWorkpiece /Toolpath, Chiron Group SE -  Improve process stability and reduce cycle times</vt:lpstr>
      <vt:lpstr>Analyze MyWorkpiece /Toolpath, Chiron Group SE -  Improve process stability and reduce cycle times</vt:lpstr>
      <vt:lpstr>Analyze MyWorkpiece /Toolpath, Chiron Group SE -  Improve process stability and reduce cycle times</vt:lpstr>
      <vt:lpstr>Analyze MyWorkpiece /Toolpath Data analysis reveals the root cause of quality and productivity problems</vt:lpstr>
      <vt:lpstr>Analyze MyWorkpiece /Toolpath, Chiron Group SE -  Basics of part program analysis </vt:lpstr>
      <vt:lpstr>Analyze MyWorkpiece /Toolpath, Chiron Group SE -  Improve process stability and reduce cycle times </vt:lpstr>
      <vt:lpstr>Analyze MyWorkpiece /Toolpath, Chiron Group SE -  Improve process stability and reduce cycle times</vt:lpstr>
      <vt:lpstr>Analyze MyWorkpiece /Toolpath, Chiron Group SE -  Improve process stability and reduce cycle times</vt:lpstr>
      <vt:lpstr>Analyze MyWorkpiece /Toolpath, Chiron Group SE -  Improving surface quality and the productivity of machine tools</vt:lpstr>
      <vt:lpstr>Disclaimer</vt:lpstr>
      <vt:lpstr>Security Information </vt:lpstr>
    </vt:vector>
  </TitlesOfParts>
  <Company>SIEME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W_Toolpath_Chiron_ReferenceSlides</dc:title>
  <dc:creator>christian.meltzer@siemens.com; krueger.daniel@siemens.com</dc:creator>
  <cp:keywords/>
  <dc:description>2023-07-04</dc:description>
  <cp:lastModifiedBy>Oltmann, Mareike (DI MC MTS DG VAL)</cp:lastModifiedBy>
  <cp:revision>3</cp:revision>
  <dcterms:created xsi:type="dcterms:W3CDTF">2021-02-24T08:27:13Z</dcterms:created>
  <dcterms:modified xsi:type="dcterms:W3CDTF">2023-09-05T12:4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59b6cd5-d141-4a33-8bf1-0ca04484304f_Enabled">
    <vt:lpwstr>true</vt:lpwstr>
  </property>
  <property fmtid="{D5CDD505-2E9C-101B-9397-08002B2CF9AE}" pid="3" name="MSIP_Label_a59b6cd5-d141-4a33-8bf1-0ca04484304f_SetDate">
    <vt:lpwstr>2021-06-17T10:24:17Z</vt:lpwstr>
  </property>
  <property fmtid="{D5CDD505-2E9C-101B-9397-08002B2CF9AE}" pid="4" name="MSIP_Label_a59b6cd5-d141-4a33-8bf1-0ca04484304f_Method">
    <vt:lpwstr>Standard</vt:lpwstr>
  </property>
  <property fmtid="{D5CDD505-2E9C-101B-9397-08002B2CF9AE}" pid="5" name="MSIP_Label_a59b6cd5-d141-4a33-8bf1-0ca04484304f_Name">
    <vt:lpwstr>restricted-default</vt:lpwstr>
  </property>
  <property fmtid="{D5CDD505-2E9C-101B-9397-08002B2CF9AE}" pid="6" name="MSIP_Label_a59b6cd5-d141-4a33-8bf1-0ca04484304f_SiteId">
    <vt:lpwstr>38ae3bcd-9579-4fd4-adda-b42e1495d55a</vt:lpwstr>
  </property>
  <property fmtid="{D5CDD505-2E9C-101B-9397-08002B2CF9AE}" pid="7" name="MSIP_Label_a59b6cd5-d141-4a33-8bf1-0ca04484304f_ActionId">
    <vt:lpwstr>66bb7074-1d8d-4c23-b1d1-a247eabd39f3</vt:lpwstr>
  </property>
  <property fmtid="{D5CDD505-2E9C-101B-9397-08002B2CF9AE}" pid="8" name="MSIP_Label_a59b6cd5-d141-4a33-8bf1-0ca04484304f_ContentBits">
    <vt:lpwstr>0</vt:lpwstr>
  </property>
  <property fmtid="{D5CDD505-2E9C-101B-9397-08002B2CF9AE}" pid="9" name="Document_Confidentiality">
    <vt:lpwstr>Restricted</vt:lpwstr>
  </property>
</Properties>
</file>